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1"/>
    <p:sldMasterId id="2147483725" r:id="rId2"/>
    <p:sldMasterId id="2147483738" r:id="rId3"/>
  </p:sldMasterIdLst>
  <p:notesMasterIdLst>
    <p:notesMasterId r:id="rId7"/>
  </p:notesMasterIdLst>
  <p:sldIdLst>
    <p:sldId id="432" r:id="rId4"/>
    <p:sldId id="442" r:id="rId5"/>
    <p:sldId id="443" r:id="rId6"/>
  </p:sldIdLst>
  <p:sldSz cx="9906000" cy="6858000" type="A4"/>
  <p:notesSz cx="6797675" cy="987266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FFFFCC"/>
    <a:srgbClr val="0000FF"/>
    <a:srgbClr val="CCCCFF"/>
    <a:srgbClr val="9999FF"/>
    <a:srgbClr val="008000"/>
    <a:srgbClr val="FFFF66"/>
    <a:srgbClr val="D2E1F4"/>
    <a:srgbClr val="FDE3D3"/>
    <a:srgbClr val="A758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밝은 스타일 1 - 강조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942" autoAdjust="0"/>
    <p:restoredTop sz="96331" autoAdjust="0"/>
  </p:normalViewPr>
  <p:slideViewPr>
    <p:cSldViewPr snapToGrid="0">
      <p:cViewPr>
        <p:scale>
          <a:sx n="66" d="100"/>
          <a:sy n="66" d="100"/>
        </p:scale>
        <p:origin x="38" y="4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5348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5348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r">
              <a:defRPr sz="1200"/>
            </a:lvl1pPr>
          </a:lstStyle>
          <a:p>
            <a:fld id="{5BAA3D8C-1A5D-4DD5-AEF0-CED78E1EC45F}" type="datetimeFigureOut">
              <a:rPr lang="ko-KR" altLang="en-US" smtClean="0"/>
              <a:t>2023-11-29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1235075"/>
            <a:ext cx="481012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15" tIns="45907" rIns="91815" bIns="45907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51220"/>
            <a:ext cx="5438140" cy="3887361"/>
          </a:xfrm>
          <a:prstGeom prst="rect">
            <a:avLst/>
          </a:prstGeom>
        </p:spPr>
        <p:txBody>
          <a:bodyPr vert="horz" lIns="91815" tIns="45907" rIns="91815" bIns="45907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60" cy="495347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2" y="9377317"/>
            <a:ext cx="2945660" cy="495347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r">
              <a:defRPr sz="1200"/>
            </a:lvl1pPr>
          </a:lstStyle>
          <a:p>
            <a:fld id="{78527C41-E2FA-46CD-B821-7ED28EAACCA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5719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1023938" y="1236663"/>
            <a:ext cx="4813300" cy="3332162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527C41-E2FA-46CD-B821-7ED28EAACCAC}" type="slidenum">
              <a:rPr lang="ko-KR" altLang="en-US" smtClean="0"/>
              <a:t>1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19090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1023938" y="1236663"/>
            <a:ext cx="4813300" cy="3332162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527C41-E2FA-46CD-B821-7ED28EAACCAC}" type="slidenum">
              <a:rPr lang="ko-KR" altLang="en-US" smtClean="0"/>
              <a:t>2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469927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1023938" y="1236663"/>
            <a:ext cx="4813300" cy="3332162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527C41-E2FA-46CD-B821-7ED28EAACCAC}" type="slidenum">
              <a:rPr lang="ko-KR" altLang="en-US" smtClean="0"/>
              <a:t>3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44919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4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11" Type="http://schemas.openxmlformats.org/officeDocument/2006/relationships/image" Target="../media/image3.png"/><Relationship Id="rId5" Type="http://schemas.openxmlformats.org/officeDocument/2006/relationships/tags" Target="../tags/tag24.xml"/><Relationship Id="rId10" Type="http://schemas.openxmlformats.org/officeDocument/2006/relationships/image" Target="../media/image2.emf"/><Relationship Id="rId4" Type="http://schemas.openxmlformats.org/officeDocument/2006/relationships/tags" Target="../tags/tag23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.v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5.emf"/><Relationship Id="rId4" Type="http://schemas.openxmlformats.org/officeDocument/2006/relationships/tags" Target="../tags/tag42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5.vml"/><Relationship Id="rId6" Type="http://schemas.openxmlformats.org/officeDocument/2006/relationships/tags" Target="../tags/tag50.xml"/><Relationship Id="rId11" Type="http://schemas.openxmlformats.org/officeDocument/2006/relationships/image" Target="../media/image5.emf"/><Relationship Id="rId5" Type="http://schemas.openxmlformats.org/officeDocument/2006/relationships/tags" Target="../tags/tag4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8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6.emf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C99625-451E-4111-AFFF-59B1EAC7D1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"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56CDAB-CA9A-43EA-9731-D68ACEE47C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8984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ts val="198"/>
              </a:spcBef>
              <a:spcAft>
                <a:spcPts val="198"/>
              </a:spcAft>
            </a:pPr>
            <a:endParaRPr lang="ko-KR" altLang="en-US" sz="2905" b="1" dirty="0" err="1">
              <a:solidFill>
                <a:srgbClr val="FFFFFF"/>
              </a:solidFill>
              <a:latin typeface="Georgia" panose="02040502050405020303" pitchFamily="18" charset="0"/>
              <a:ea typeface="-윤명조150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448453" y="4984025"/>
            <a:ext cx="1545336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792">
                <a:solidFill>
                  <a:schemeClr val="tx1"/>
                </a:solidFill>
              </a:defRPr>
            </a:lvl1pPr>
          </a:lstStyle>
          <a:p>
            <a:r>
              <a:rPr lang="ko-K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50725" y="4510168"/>
            <a:ext cx="4888611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925">
                <a:solidFill>
                  <a:schemeClr val="tx1"/>
                </a:solidFill>
              </a:defRPr>
            </a:lvl1pPr>
            <a:lvl2pPr marL="76508" indent="0">
              <a:buNone/>
              <a:defRPr>
                <a:solidFill>
                  <a:schemeClr val="bg1"/>
                </a:solidFill>
              </a:defRPr>
            </a:lvl2pPr>
            <a:lvl3pPr marL="307876" indent="0">
              <a:buNone/>
              <a:defRPr>
                <a:solidFill>
                  <a:schemeClr val="bg1"/>
                </a:solidFill>
              </a:defRPr>
            </a:lvl3pPr>
            <a:lvl4pPr marL="537272" indent="0">
              <a:buNone/>
              <a:defRPr>
                <a:solidFill>
                  <a:schemeClr val="bg1"/>
                </a:solidFill>
              </a:defRPr>
            </a:lvl4pPr>
            <a:lvl5pPr marL="76667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ko-KR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48455" y="4092568"/>
            <a:ext cx="4888611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20">
                <a:solidFill>
                  <a:schemeClr val="tx1"/>
                </a:solidFill>
              </a:defRPr>
            </a:lvl1pPr>
            <a:lvl2pPr marL="301839" indent="0" algn="ctr">
              <a:buNone/>
              <a:defRPr sz="1320"/>
            </a:lvl2pPr>
            <a:lvl3pPr marL="603677" indent="0" algn="ctr">
              <a:buNone/>
              <a:defRPr sz="1189"/>
            </a:lvl3pPr>
            <a:lvl4pPr marL="905515" indent="0" algn="ctr">
              <a:buNone/>
              <a:defRPr sz="1056"/>
            </a:lvl4pPr>
            <a:lvl5pPr marL="1207354" indent="0" algn="ctr">
              <a:buNone/>
              <a:defRPr sz="1056"/>
            </a:lvl5pPr>
            <a:lvl6pPr marL="1509193" indent="0" algn="ctr">
              <a:buNone/>
              <a:defRPr sz="1056"/>
            </a:lvl6pPr>
            <a:lvl7pPr marL="1811032" indent="0" algn="ctr">
              <a:buNone/>
              <a:defRPr sz="1056"/>
            </a:lvl7pPr>
            <a:lvl8pPr marL="2112870" indent="0" algn="ctr">
              <a:buNone/>
              <a:defRPr sz="1056"/>
            </a:lvl8pPr>
            <a:lvl9pPr marL="2414709" indent="0" algn="ctr">
              <a:buNone/>
              <a:defRPr sz="1056"/>
            </a:lvl9pPr>
          </a:lstStyle>
          <a:p>
            <a:r>
              <a:rPr lang="en-US" altLang="ko-KR"/>
              <a:t>Click to edit Master subtitle style</a:t>
            </a:r>
            <a:endParaRPr lang="ko-K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48455" y="2049805"/>
            <a:ext cx="4888611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905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  <a:endParaRPr lang="ko-KR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9FA1EC9-FBDC-4280-A1A0-01AB0DD3E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-4998" r="72693" b="-129"/>
          <a:stretch/>
        </p:blipFill>
        <p:spPr>
          <a:xfrm>
            <a:off x="5368735" y="3138985"/>
            <a:ext cx="4537269" cy="3749423"/>
          </a:xfrm>
          <a:prstGeom prst="rect">
            <a:avLst/>
          </a:prstGeom>
        </p:spPr>
      </p:pic>
      <p:pic>
        <p:nvPicPr>
          <p:cNvPr id="9" name="Rectangle 1">
            <a:extLst>
              <a:ext uri="{FF2B5EF4-FFF2-40B4-BE49-F238E27FC236}">
                <a16:creationId xmlns:a16="http://schemas.microsoft.com/office/drawing/2014/main" id="{AD8CBD2E-AD57-49B2-BB10-0308436C93C9}"/>
              </a:ext>
            </a:extLst>
          </p:cNvPr>
          <p:cNvPicPr>
            <a:picLocks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0" b="57656"/>
          <a:stretch/>
        </p:blipFill>
        <p:spPr>
          <a:xfrm>
            <a:off x="0" y="3176"/>
            <a:ext cx="7903568" cy="112548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8650304-13F0-4563-B0C8-4D27D0667F22}"/>
              </a:ext>
            </a:extLst>
          </p:cNvPr>
          <p:cNvSpPr>
            <a:spLocks/>
          </p:cNvSpPr>
          <p:nvPr userDrawn="1"/>
        </p:nvSpPr>
        <p:spPr>
          <a:xfrm>
            <a:off x="6815104" y="0"/>
            <a:ext cx="3090896" cy="1128664"/>
          </a:xfrm>
          <a:prstGeom prst="rect">
            <a:avLst/>
          </a:prstGeom>
          <a:solidFill>
            <a:srgbClr val="FC5F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latinLnBrk="0"/>
            <a:endParaRPr lang="en-US" sz="1189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616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8" y="4407031"/>
            <a:ext cx="8420100" cy="1362075"/>
          </a:xfrm>
          <a:prstGeom prst="rect">
            <a:avLst/>
          </a:prstGeom>
        </p:spPr>
        <p:txBody>
          <a:bodyPr lIns="91389" tIns="45694" rIns="91389" bIns="45694" anchor="t"/>
          <a:lstStyle>
            <a:lvl1pPr algn="l">
              <a:defRPr sz="2641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8" y="2906713"/>
            <a:ext cx="8420100" cy="1500187"/>
          </a:xfrm>
          <a:prstGeom prst="rect">
            <a:avLst/>
          </a:prstGeom>
        </p:spPr>
        <p:txBody>
          <a:bodyPr lIns="91389" tIns="45694" rIns="91389" bIns="45694" anchor="b"/>
          <a:lstStyle>
            <a:lvl1pPr marL="0" indent="0">
              <a:buNone/>
              <a:defRPr sz="1320"/>
            </a:lvl1pPr>
            <a:lvl2pPr marL="301672" indent="0">
              <a:buNone/>
              <a:defRPr sz="1189"/>
            </a:lvl2pPr>
            <a:lvl3pPr marL="603345" indent="0">
              <a:buNone/>
              <a:defRPr sz="1056"/>
            </a:lvl3pPr>
            <a:lvl4pPr marL="905015" indent="0">
              <a:buNone/>
              <a:defRPr sz="925"/>
            </a:lvl4pPr>
            <a:lvl5pPr marL="1206688" indent="0">
              <a:buNone/>
              <a:defRPr sz="925"/>
            </a:lvl5pPr>
            <a:lvl6pPr marL="1508360" indent="0">
              <a:buNone/>
              <a:defRPr sz="925"/>
            </a:lvl6pPr>
            <a:lvl7pPr marL="1810029" indent="0">
              <a:buNone/>
              <a:defRPr sz="925"/>
            </a:lvl7pPr>
            <a:lvl8pPr marL="2111703" indent="0">
              <a:buNone/>
              <a:defRPr sz="925"/>
            </a:lvl8pPr>
            <a:lvl9pPr marL="2413375" indent="0">
              <a:buNone/>
              <a:defRPr sz="925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667397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 sz="1848"/>
            </a:lvl1pPr>
            <a:lvl2pPr>
              <a:defRPr sz="1584"/>
            </a:lvl2pPr>
            <a:lvl3pPr>
              <a:defRPr sz="1320"/>
            </a:lvl3pPr>
            <a:lvl4pPr>
              <a:defRPr sz="1189"/>
            </a:lvl4pPr>
            <a:lvl5pPr>
              <a:defRPr sz="1189"/>
            </a:lvl5pPr>
            <a:lvl6pPr>
              <a:defRPr sz="1189"/>
            </a:lvl6pPr>
            <a:lvl7pPr>
              <a:defRPr sz="1189"/>
            </a:lvl7pPr>
            <a:lvl8pPr>
              <a:defRPr sz="1189"/>
            </a:lvl8pPr>
            <a:lvl9pPr>
              <a:defRPr sz="1189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 sz="1848"/>
            </a:lvl1pPr>
            <a:lvl2pPr>
              <a:defRPr sz="1584"/>
            </a:lvl2pPr>
            <a:lvl3pPr>
              <a:defRPr sz="1320"/>
            </a:lvl3pPr>
            <a:lvl4pPr>
              <a:defRPr sz="1189"/>
            </a:lvl4pPr>
            <a:lvl5pPr>
              <a:defRPr sz="1189"/>
            </a:lvl5pPr>
            <a:lvl6pPr>
              <a:defRPr sz="1189"/>
            </a:lvl6pPr>
            <a:lvl7pPr>
              <a:defRPr sz="1189"/>
            </a:lvl7pPr>
            <a:lvl8pPr>
              <a:defRPr sz="1189"/>
            </a:lvl8pPr>
            <a:lvl9pPr>
              <a:defRPr sz="1189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2222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8"/>
            <a:ext cx="4376870" cy="639762"/>
          </a:xfrm>
          <a:prstGeom prst="rect">
            <a:avLst/>
          </a:prstGeom>
        </p:spPr>
        <p:txBody>
          <a:bodyPr lIns="91389" tIns="45694" rIns="91389" bIns="45694" anchor="b"/>
          <a:lstStyle>
            <a:lvl1pPr marL="0" indent="0">
              <a:buNone/>
              <a:defRPr sz="1584" b="1"/>
            </a:lvl1pPr>
            <a:lvl2pPr marL="301672" indent="0">
              <a:buNone/>
              <a:defRPr sz="1320" b="1"/>
            </a:lvl2pPr>
            <a:lvl3pPr marL="603345" indent="0">
              <a:buNone/>
              <a:defRPr sz="1189" b="1"/>
            </a:lvl3pPr>
            <a:lvl4pPr marL="905015" indent="0">
              <a:buNone/>
              <a:defRPr sz="1056" b="1"/>
            </a:lvl4pPr>
            <a:lvl5pPr marL="1206688" indent="0">
              <a:buNone/>
              <a:defRPr sz="1056" b="1"/>
            </a:lvl5pPr>
            <a:lvl6pPr marL="1508360" indent="0">
              <a:buNone/>
              <a:defRPr sz="1056" b="1"/>
            </a:lvl6pPr>
            <a:lvl7pPr marL="1810029" indent="0">
              <a:buNone/>
              <a:defRPr sz="1056" b="1"/>
            </a:lvl7pPr>
            <a:lvl8pPr marL="2111703" indent="0">
              <a:buNone/>
              <a:defRPr sz="1056" b="1"/>
            </a:lvl8pPr>
            <a:lvl9pPr marL="2413375" indent="0">
              <a:buNone/>
              <a:defRPr sz="1056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 sz="1584"/>
            </a:lvl1pPr>
            <a:lvl2pPr>
              <a:defRPr sz="1320"/>
            </a:lvl2pPr>
            <a:lvl3pPr>
              <a:defRPr sz="1189"/>
            </a:lvl3pPr>
            <a:lvl4pPr>
              <a:defRPr sz="1056"/>
            </a:lvl4pPr>
            <a:lvl5pPr>
              <a:defRPr sz="1056"/>
            </a:lvl5pPr>
            <a:lvl6pPr>
              <a:defRPr sz="1056"/>
            </a:lvl6pPr>
            <a:lvl7pPr>
              <a:defRPr sz="1056"/>
            </a:lvl7pPr>
            <a:lvl8pPr>
              <a:defRPr sz="1056"/>
            </a:lvl8pPr>
            <a:lvl9pPr>
              <a:defRPr sz="1056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7" y="1535118"/>
            <a:ext cx="4378590" cy="639762"/>
          </a:xfrm>
          <a:prstGeom prst="rect">
            <a:avLst/>
          </a:prstGeom>
        </p:spPr>
        <p:txBody>
          <a:bodyPr lIns="91389" tIns="45694" rIns="91389" bIns="45694" anchor="b"/>
          <a:lstStyle>
            <a:lvl1pPr marL="0" indent="0">
              <a:buNone/>
              <a:defRPr sz="1584" b="1"/>
            </a:lvl1pPr>
            <a:lvl2pPr marL="301672" indent="0">
              <a:buNone/>
              <a:defRPr sz="1320" b="1"/>
            </a:lvl2pPr>
            <a:lvl3pPr marL="603345" indent="0">
              <a:buNone/>
              <a:defRPr sz="1189" b="1"/>
            </a:lvl3pPr>
            <a:lvl4pPr marL="905015" indent="0">
              <a:buNone/>
              <a:defRPr sz="1056" b="1"/>
            </a:lvl4pPr>
            <a:lvl5pPr marL="1206688" indent="0">
              <a:buNone/>
              <a:defRPr sz="1056" b="1"/>
            </a:lvl5pPr>
            <a:lvl6pPr marL="1508360" indent="0">
              <a:buNone/>
              <a:defRPr sz="1056" b="1"/>
            </a:lvl6pPr>
            <a:lvl7pPr marL="1810029" indent="0">
              <a:buNone/>
              <a:defRPr sz="1056" b="1"/>
            </a:lvl7pPr>
            <a:lvl8pPr marL="2111703" indent="0">
              <a:buNone/>
              <a:defRPr sz="1056" b="1"/>
            </a:lvl8pPr>
            <a:lvl9pPr marL="2413375" indent="0">
              <a:buNone/>
              <a:defRPr sz="1056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 sz="1584"/>
            </a:lvl1pPr>
            <a:lvl2pPr>
              <a:defRPr sz="1320"/>
            </a:lvl2pPr>
            <a:lvl3pPr>
              <a:defRPr sz="1189"/>
            </a:lvl3pPr>
            <a:lvl4pPr>
              <a:defRPr sz="1056"/>
            </a:lvl4pPr>
            <a:lvl5pPr>
              <a:defRPr sz="1056"/>
            </a:lvl5pPr>
            <a:lvl6pPr>
              <a:defRPr sz="1056"/>
            </a:lvl6pPr>
            <a:lvl7pPr>
              <a:defRPr sz="1056"/>
            </a:lvl7pPr>
            <a:lvl8pPr>
              <a:defRPr sz="1056"/>
            </a:lvl8pPr>
            <a:lvl9pPr>
              <a:defRPr sz="1056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98407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37419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954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  <a:prstGeom prst="rect">
            <a:avLst/>
          </a:prstGeom>
        </p:spPr>
        <p:txBody>
          <a:bodyPr lIns="91389" tIns="45694" rIns="91389" bIns="45694" anchor="b"/>
          <a:lstStyle>
            <a:lvl1pPr algn="l">
              <a:defRPr sz="132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4" y="273067"/>
            <a:ext cx="5537729" cy="5853113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 sz="2113"/>
            </a:lvl1pPr>
            <a:lvl2pPr>
              <a:defRPr sz="1848"/>
            </a:lvl2pPr>
            <a:lvl3pPr>
              <a:defRPr sz="1584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9" y="1435113"/>
            <a:ext cx="3259006" cy="4691063"/>
          </a:xfrm>
          <a:prstGeom prst="rect">
            <a:avLst/>
          </a:prstGeom>
        </p:spPr>
        <p:txBody>
          <a:bodyPr lIns="91389" tIns="45694" rIns="91389" bIns="45694"/>
          <a:lstStyle>
            <a:lvl1pPr marL="0" indent="0">
              <a:buNone/>
              <a:defRPr sz="925"/>
            </a:lvl1pPr>
            <a:lvl2pPr marL="301672" indent="0">
              <a:buNone/>
              <a:defRPr sz="792"/>
            </a:lvl2pPr>
            <a:lvl3pPr marL="603345" indent="0">
              <a:buNone/>
              <a:defRPr sz="661"/>
            </a:lvl3pPr>
            <a:lvl4pPr marL="905015" indent="0">
              <a:buNone/>
              <a:defRPr sz="594"/>
            </a:lvl4pPr>
            <a:lvl5pPr marL="1206688" indent="0">
              <a:buNone/>
              <a:defRPr sz="594"/>
            </a:lvl5pPr>
            <a:lvl6pPr marL="1508360" indent="0">
              <a:buNone/>
              <a:defRPr sz="594"/>
            </a:lvl6pPr>
            <a:lvl7pPr marL="1810029" indent="0">
              <a:buNone/>
              <a:defRPr sz="594"/>
            </a:lvl7pPr>
            <a:lvl8pPr marL="2111703" indent="0">
              <a:buNone/>
              <a:defRPr sz="594"/>
            </a:lvl8pPr>
            <a:lvl9pPr marL="2413375" indent="0">
              <a:buNone/>
              <a:defRPr sz="594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055594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lIns="91389" tIns="45694" rIns="91389" bIns="45694" anchor="b"/>
          <a:lstStyle>
            <a:lvl1pPr algn="l">
              <a:defRPr sz="132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81"/>
            <a:ext cx="5943600" cy="4114800"/>
          </a:xfrm>
          <a:prstGeom prst="rect">
            <a:avLst/>
          </a:prstGeom>
        </p:spPr>
        <p:txBody>
          <a:bodyPr lIns="91389" tIns="45694" rIns="91389" bIns="45694"/>
          <a:lstStyle>
            <a:lvl1pPr marL="0" indent="0">
              <a:buNone/>
              <a:defRPr sz="2113"/>
            </a:lvl1pPr>
            <a:lvl2pPr marL="301672" indent="0">
              <a:buNone/>
              <a:defRPr sz="1848"/>
            </a:lvl2pPr>
            <a:lvl3pPr marL="603345" indent="0">
              <a:buNone/>
              <a:defRPr sz="1584"/>
            </a:lvl3pPr>
            <a:lvl4pPr marL="905015" indent="0">
              <a:buNone/>
              <a:defRPr sz="1320"/>
            </a:lvl4pPr>
            <a:lvl5pPr marL="1206688" indent="0">
              <a:buNone/>
              <a:defRPr sz="1320"/>
            </a:lvl5pPr>
            <a:lvl6pPr marL="1508360" indent="0">
              <a:buNone/>
              <a:defRPr sz="1320"/>
            </a:lvl6pPr>
            <a:lvl7pPr marL="1810029" indent="0">
              <a:buNone/>
              <a:defRPr sz="1320"/>
            </a:lvl7pPr>
            <a:lvl8pPr marL="2111703" indent="0">
              <a:buNone/>
              <a:defRPr sz="1320"/>
            </a:lvl8pPr>
            <a:lvl9pPr marL="2413375" indent="0">
              <a:buNone/>
              <a:defRPr sz="132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 lIns="91389" tIns="45694" rIns="91389" bIns="45694"/>
          <a:lstStyle>
            <a:lvl1pPr marL="0" indent="0">
              <a:buNone/>
              <a:defRPr sz="925"/>
            </a:lvl1pPr>
            <a:lvl2pPr marL="301672" indent="0">
              <a:buNone/>
              <a:defRPr sz="792"/>
            </a:lvl2pPr>
            <a:lvl3pPr marL="603345" indent="0">
              <a:buNone/>
              <a:defRPr sz="661"/>
            </a:lvl3pPr>
            <a:lvl4pPr marL="905015" indent="0">
              <a:buNone/>
              <a:defRPr sz="594"/>
            </a:lvl4pPr>
            <a:lvl5pPr marL="1206688" indent="0">
              <a:buNone/>
              <a:defRPr sz="594"/>
            </a:lvl5pPr>
            <a:lvl6pPr marL="1508360" indent="0">
              <a:buNone/>
              <a:defRPr sz="594"/>
            </a:lvl6pPr>
            <a:lvl7pPr marL="1810029" indent="0">
              <a:buNone/>
              <a:defRPr sz="594"/>
            </a:lvl7pPr>
            <a:lvl8pPr marL="2111703" indent="0">
              <a:buNone/>
              <a:defRPr sz="594"/>
            </a:lvl8pPr>
            <a:lvl9pPr marL="2413375" indent="0">
              <a:buNone/>
              <a:defRPr sz="594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886589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eaVert" lIns="91389" tIns="45694" rIns="91389" bIns="45694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9829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55"/>
            <a:ext cx="2228850" cy="5851525"/>
          </a:xfrm>
          <a:prstGeom prst="rect">
            <a:avLst/>
          </a:prstGeom>
        </p:spPr>
        <p:txBody>
          <a:bodyPr vert="eaVert"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55"/>
            <a:ext cx="6521450" cy="5851525"/>
          </a:xfrm>
          <a:prstGeom prst="rect">
            <a:avLst/>
          </a:prstGeom>
        </p:spPr>
        <p:txBody>
          <a:bodyPr vert="eaVert" lIns="91389" tIns="45694" rIns="91389" bIns="45694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42697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9345488" y="6381328"/>
            <a:ext cx="56051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189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26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8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8984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spcAft>
                <a:spcPct val="0"/>
              </a:spcAft>
            </a:pPr>
            <a:endParaRPr lang="ko-KR" altLang="en-US" sz="1650" b="1" dirty="0" err="1">
              <a:solidFill>
                <a:srgbClr val="FFFFFF"/>
              </a:solidFill>
              <a:latin typeface="Georgia" panose="02040502050405020303" pitchFamily="18" charset="0"/>
              <a:ea typeface="-윤명조150"/>
              <a:sym typeface="Georgia" panose="02040502050405020303" pitchFamily="18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50723" y="6501678"/>
            <a:ext cx="5913262" cy="812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ko-K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atinLnBrk="0"/>
            <a:r>
              <a:rPr altLang="en-US" sz="528">
                <a:solidFill>
                  <a:srgbClr val="000000"/>
                </a:solidFill>
              </a:rPr>
              <a:t>자료</a:t>
            </a:r>
            <a:r>
              <a:rPr lang="en-US" altLang="ko-KR" sz="528">
                <a:solidFill>
                  <a:srgbClr val="000000"/>
                </a:solidFill>
              </a:rPr>
              <a:t>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FFB187DD-F064-49DA-8DD6-3CE2A3A086D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50723" y="182372"/>
            <a:ext cx="9004554" cy="547783"/>
          </a:xfrm>
        </p:spPr>
        <p:txBody>
          <a:bodyPr/>
          <a:lstStyle>
            <a:lvl1pPr>
              <a:defRPr sz="200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 dirty="0"/>
              <a:t>Click to edit Master title style</a:t>
            </a:r>
            <a:endParaRPr lang="ko-KR" dirty="0"/>
          </a:p>
        </p:txBody>
      </p:sp>
      <p:cxnSp>
        <p:nvCxnSpPr>
          <p:cNvPr id="10" name="TopLine">
            <a:extLst>
              <a:ext uri="{FF2B5EF4-FFF2-40B4-BE49-F238E27FC236}">
                <a16:creationId xmlns:a16="http://schemas.microsoft.com/office/drawing/2014/main" id="{90A90AE7-B2A8-402F-8635-811BF30EF53D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50723" y="854355"/>
            <a:ext cx="900455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76369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548"/>
            <a:ext cx="8420100" cy="1470025"/>
          </a:xfrm>
          <a:prstGeom prst="rect">
            <a:avLst/>
          </a:prstGeom>
        </p:spPr>
        <p:txBody>
          <a:bodyPr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 lIns="91389" tIns="45694" rIns="91389" bIns="45694"/>
          <a:lstStyle>
            <a:lvl1pPr marL="0" indent="0" algn="ctr">
              <a:buNone/>
              <a:defRPr/>
            </a:lvl1pPr>
            <a:lvl2pPr marL="371288" indent="0" algn="ctr">
              <a:buNone/>
              <a:defRPr/>
            </a:lvl2pPr>
            <a:lvl3pPr marL="742578" indent="0" algn="ctr">
              <a:buNone/>
              <a:defRPr/>
            </a:lvl3pPr>
            <a:lvl4pPr marL="1113867" indent="0" algn="ctr">
              <a:buNone/>
              <a:defRPr/>
            </a:lvl4pPr>
            <a:lvl5pPr marL="1485154" indent="0" algn="ctr">
              <a:buNone/>
              <a:defRPr/>
            </a:lvl5pPr>
            <a:lvl6pPr marL="1856443" indent="0" algn="ctr">
              <a:buNone/>
              <a:defRPr/>
            </a:lvl6pPr>
            <a:lvl7pPr marL="2227729" indent="0" algn="ctr">
              <a:buNone/>
              <a:defRPr/>
            </a:lvl7pPr>
            <a:lvl8pPr marL="2599019" indent="0" algn="ctr">
              <a:buNone/>
              <a:defRPr/>
            </a:lvl8pPr>
            <a:lvl9pPr marL="2970308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51220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lIns="91389" tIns="45694" rIns="91389" bIns="45694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5745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8" y="4407029"/>
            <a:ext cx="8420100" cy="1362075"/>
          </a:xfrm>
          <a:prstGeom prst="rect">
            <a:avLst/>
          </a:prstGeom>
        </p:spPr>
        <p:txBody>
          <a:bodyPr lIns="91389" tIns="45694" rIns="91389" bIns="45694" anchor="t"/>
          <a:lstStyle>
            <a:lvl1pPr algn="l">
              <a:defRPr sz="325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8" y="2906713"/>
            <a:ext cx="8420100" cy="1500187"/>
          </a:xfrm>
          <a:prstGeom prst="rect">
            <a:avLst/>
          </a:prstGeom>
        </p:spPr>
        <p:txBody>
          <a:bodyPr lIns="91389" tIns="45694" rIns="91389" bIns="45694" anchor="b"/>
          <a:lstStyle>
            <a:lvl1pPr marL="0" indent="0">
              <a:buNone/>
              <a:defRPr sz="1625"/>
            </a:lvl1pPr>
            <a:lvl2pPr marL="371288" indent="0">
              <a:buNone/>
              <a:defRPr sz="1463"/>
            </a:lvl2pPr>
            <a:lvl3pPr marL="742578" indent="0">
              <a:buNone/>
              <a:defRPr sz="1300"/>
            </a:lvl3pPr>
            <a:lvl4pPr marL="1113867" indent="0">
              <a:buNone/>
              <a:defRPr sz="1138"/>
            </a:lvl4pPr>
            <a:lvl5pPr marL="1485154" indent="0">
              <a:buNone/>
              <a:defRPr sz="1138"/>
            </a:lvl5pPr>
            <a:lvl6pPr marL="1856443" indent="0">
              <a:buNone/>
              <a:defRPr sz="1138"/>
            </a:lvl6pPr>
            <a:lvl7pPr marL="2227729" indent="0">
              <a:buNone/>
              <a:defRPr sz="1138"/>
            </a:lvl7pPr>
            <a:lvl8pPr marL="2599019" indent="0">
              <a:buNone/>
              <a:defRPr sz="1138"/>
            </a:lvl8pPr>
            <a:lvl9pPr marL="2970308" indent="0">
              <a:buNone/>
              <a:defRPr sz="1138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858268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2618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8"/>
            <a:ext cx="4376870" cy="639762"/>
          </a:xfrm>
          <a:prstGeom prst="rect">
            <a:avLst/>
          </a:prstGeom>
        </p:spPr>
        <p:txBody>
          <a:bodyPr lIns="91389" tIns="45694" rIns="91389" bIns="45694" anchor="b"/>
          <a:lstStyle>
            <a:lvl1pPr marL="0" indent="0">
              <a:buNone/>
              <a:defRPr sz="1950" b="1"/>
            </a:lvl1pPr>
            <a:lvl2pPr marL="371288" indent="0">
              <a:buNone/>
              <a:defRPr sz="1625" b="1"/>
            </a:lvl2pPr>
            <a:lvl3pPr marL="742578" indent="0">
              <a:buNone/>
              <a:defRPr sz="1463" b="1"/>
            </a:lvl3pPr>
            <a:lvl4pPr marL="1113867" indent="0">
              <a:buNone/>
              <a:defRPr sz="1300" b="1"/>
            </a:lvl4pPr>
            <a:lvl5pPr marL="1485154" indent="0">
              <a:buNone/>
              <a:defRPr sz="1300" b="1"/>
            </a:lvl5pPr>
            <a:lvl6pPr marL="1856443" indent="0">
              <a:buNone/>
              <a:defRPr sz="1300" b="1"/>
            </a:lvl6pPr>
            <a:lvl7pPr marL="2227729" indent="0">
              <a:buNone/>
              <a:defRPr sz="1300" b="1"/>
            </a:lvl7pPr>
            <a:lvl8pPr marL="2599019" indent="0">
              <a:buNone/>
              <a:defRPr sz="1300" b="1"/>
            </a:lvl8pPr>
            <a:lvl9pPr marL="2970308" indent="0">
              <a:buNone/>
              <a:defRPr sz="13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7" y="1535118"/>
            <a:ext cx="4378590" cy="639762"/>
          </a:xfrm>
          <a:prstGeom prst="rect">
            <a:avLst/>
          </a:prstGeom>
        </p:spPr>
        <p:txBody>
          <a:bodyPr lIns="91389" tIns="45694" rIns="91389" bIns="45694" anchor="b"/>
          <a:lstStyle>
            <a:lvl1pPr marL="0" indent="0">
              <a:buNone/>
              <a:defRPr sz="1950" b="1"/>
            </a:lvl1pPr>
            <a:lvl2pPr marL="371288" indent="0">
              <a:buNone/>
              <a:defRPr sz="1625" b="1"/>
            </a:lvl2pPr>
            <a:lvl3pPr marL="742578" indent="0">
              <a:buNone/>
              <a:defRPr sz="1463" b="1"/>
            </a:lvl3pPr>
            <a:lvl4pPr marL="1113867" indent="0">
              <a:buNone/>
              <a:defRPr sz="1300" b="1"/>
            </a:lvl4pPr>
            <a:lvl5pPr marL="1485154" indent="0">
              <a:buNone/>
              <a:defRPr sz="1300" b="1"/>
            </a:lvl5pPr>
            <a:lvl6pPr marL="1856443" indent="0">
              <a:buNone/>
              <a:defRPr sz="1300" b="1"/>
            </a:lvl6pPr>
            <a:lvl7pPr marL="2227729" indent="0">
              <a:buNone/>
              <a:defRPr sz="1300" b="1"/>
            </a:lvl7pPr>
            <a:lvl8pPr marL="2599019" indent="0">
              <a:buNone/>
              <a:defRPr sz="1300" b="1"/>
            </a:lvl8pPr>
            <a:lvl9pPr marL="2970308" indent="0">
              <a:buNone/>
              <a:defRPr sz="13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28197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30055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4538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  <a:prstGeom prst="rect">
            <a:avLst/>
          </a:prstGeom>
        </p:spPr>
        <p:txBody>
          <a:bodyPr lIns="91389" tIns="45694" rIns="91389" bIns="45694" anchor="b"/>
          <a:lstStyle>
            <a:lvl1pPr algn="l">
              <a:defRPr sz="1625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4" y="273065"/>
            <a:ext cx="5537729" cy="5853113"/>
          </a:xfrm>
          <a:prstGeom prst="rect">
            <a:avLst/>
          </a:prstGeom>
        </p:spPr>
        <p:txBody>
          <a:bodyPr lIns="91389" tIns="45694" rIns="91389" bIns="45694"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9" y="1435113"/>
            <a:ext cx="3259006" cy="4691063"/>
          </a:xfrm>
          <a:prstGeom prst="rect">
            <a:avLst/>
          </a:prstGeom>
        </p:spPr>
        <p:txBody>
          <a:bodyPr lIns="91389" tIns="45694" rIns="91389" bIns="45694"/>
          <a:lstStyle>
            <a:lvl1pPr marL="0" indent="0">
              <a:buNone/>
              <a:defRPr sz="1138"/>
            </a:lvl1pPr>
            <a:lvl2pPr marL="371288" indent="0">
              <a:buNone/>
              <a:defRPr sz="975"/>
            </a:lvl2pPr>
            <a:lvl3pPr marL="742578" indent="0">
              <a:buNone/>
              <a:defRPr sz="813"/>
            </a:lvl3pPr>
            <a:lvl4pPr marL="1113867" indent="0">
              <a:buNone/>
              <a:defRPr sz="731"/>
            </a:lvl4pPr>
            <a:lvl5pPr marL="1485154" indent="0">
              <a:buNone/>
              <a:defRPr sz="731"/>
            </a:lvl5pPr>
            <a:lvl6pPr marL="1856443" indent="0">
              <a:buNone/>
              <a:defRPr sz="731"/>
            </a:lvl6pPr>
            <a:lvl7pPr marL="2227729" indent="0">
              <a:buNone/>
              <a:defRPr sz="731"/>
            </a:lvl7pPr>
            <a:lvl8pPr marL="2599019" indent="0">
              <a:buNone/>
              <a:defRPr sz="731"/>
            </a:lvl8pPr>
            <a:lvl9pPr marL="2970308" indent="0">
              <a:buNone/>
              <a:defRPr sz="73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3043148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lIns="91389" tIns="45694" rIns="91389" bIns="45694" anchor="b"/>
          <a:lstStyle>
            <a:lvl1pPr algn="l">
              <a:defRPr sz="1625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81"/>
            <a:ext cx="5943600" cy="4114800"/>
          </a:xfrm>
          <a:prstGeom prst="rect">
            <a:avLst/>
          </a:prstGeom>
        </p:spPr>
        <p:txBody>
          <a:bodyPr lIns="91389" tIns="45694" rIns="91389" bIns="45694"/>
          <a:lstStyle>
            <a:lvl1pPr marL="0" indent="0">
              <a:buNone/>
              <a:defRPr sz="2600"/>
            </a:lvl1pPr>
            <a:lvl2pPr marL="371288" indent="0">
              <a:buNone/>
              <a:defRPr sz="2275"/>
            </a:lvl2pPr>
            <a:lvl3pPr marL="742578" indent="0">
              <a:buNone/>
              <a:defRPr sz="1950"/>
            </a:lvl3pPr>
            <a:lvl4pPr marL="1113867" indent="0">
              <a:buNone/>
              <a:defRPr sz="1625"/>
            </a:lvl4pPr>
            <a:lvl5pPr marL="1485154" indent="0">
              <a:buNone/>
              <a:defRPr sz="1625"/>
            </a:lvl5pPr>
            <a:lvl6pPr marL="1856443" indent="0">
              <a:buNone/>
              <a:defRPr sz="1625"/>
            </a:lvl6pPr>
            <a:lvl7pPr marL="2227729" indent="0">
              <a:buNone/>
              <a:defRPr sz="1625"/>
            </a:lvl7pPr>
            <a:lvl8pPr marL="2599019" indent="0">
              <a:buNone/>
              <a:defRPr sz="1625"/>
            </a:lvl8pPr>
            <a:lvl9pPr marL="2970308" indent="0">
              <a:buNone/>
              <a:defRPr sz="1625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 lIns="91389" tIns="45694" rIns="91389" bIns="45694"/>
          <a:lstStyle>
            <a:lvl1pPr marL="0" indent="0">
              <a:buNone/>
              <a:defRPr sz="1138"/>
            </a:lvl1pPr>
            <a:lvl2pPr marL="371288" indent="0">
              <a:buNone/>
              <a:defRPr sz="975"/>
            </a:lvl2pPr>
            <a:lvl3pPr marL="742578" indent="0">
              <a:buNone/>
              <a:defRPr sz="813"/>
            </a:lvl3pPr>
            <a:lvl4pPr marL="1113867" indent="0">
              <a:buNone/>
              <a:defRPr sz="731"/>
            </a:lvl4pPr>
            <a:lvl5pPr marL="1485154" indent="0">
              <a:buNone/>
              <a:defRPr sz="731"/>
            </a:lvl5pPr>
            <a:lvl6pPr marL="1856443" indent="0">
              <a:buNone/>
              <a:defRPr sz="731"/>
            </a:lvl6pPr>
            <a:lvl7pPr marL="2227729" indent="0">
              <a:buNone/>
              <a:defRPr sz="731"/>
            </a:lvl7pPr>
            <a:lvl8pPr marL="2599019" indent="0">
              <a:buNone/>
              <a:defRPr sz="731"/>
            </a:lvl8pPr>
            <a:lvl9pPr marL="2970308" indent="0">
              <a:buNone/>
              <a:defRPr sz="73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435132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eaVert" lIns="91389" tIns="45694" rIns="91389" bIns="45694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7360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0724" y="1706563"/>
            <a:ext cx="3098102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altLang="ko-KR"/>
              <a:t>Click to edit Master title style</a:t>
            </a:r>
            <a:endParaRPr lang="ko-K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9191427" y="6545827"/>
            <a:ext cx="264470" cy="914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03207" latinLnBrk="0">
              <a:defRPr/>
            </a:pPr>
            <a:fld id="{4ABDCABE-3F10-B64C-92F1-862014417034}" type="slidenum">
              <a:rPr lang="en-US" altLang="ko-KR" sz="594">
                <a:solidFill>
                  <a:srgbClr val="000000"/>
                </a:solidFill>
                <a:cs typeface="Arial" panose="020B0604020202020204" pitchFamily="34" charset="0"/>
              </a:rPr>
              <a:pPr algn="r" defTabSz="403207" latinLnBrk="0">
                <a:defRPr/>
              </a:pPr>
              <a:t>‹#›</a:t>
            </a:fld>
            <a:endParaRPr lang="ko-KR" altLang="en-US" sz="594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50723" y="6501678"/>
            <a:ext cx="5913262" cy="812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ko-K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atinLnBrk="0"/>
            <a:r>
              <a:rPr altLang="en-US" sz="528">
                <a:solidFill>
                  <a:srgbClr val="000000"/>
                </a:solidFill>
              </a:rPr>
              <a:t>자료</a:t>
            </a:r>
            <a:r>
              <a:rPr lang="en-US" altLang="ko-KR" sz="528">
                <a:solidFill>
                  <a:srgbClr val="000000"/>
                </a:solidFill>
              </a:rPr>
              <a:t>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55DBC78B-88B8-43F6-BCE1-7874113155D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817299" y="99712"/>
            <a:ext cx="3640455" cy="81241"/>
          </a:xfrm>
        </p:spPr>
        <p:txBody>
          <a:bodyPr anchor="ctr" anchorCtr="0">
            <a:spAutoFit/>
          </a:bodyPr>
          <a:lstStyle>
            <a:lvl1pPr algn="r">
              <a:defRPr sz="528">
                <a:latin typeface="+mn-lt"/>
              </a:defRPr>
            </a:lvl1pPr>
          </a:lstStyle>
          <a:p>
            <a:pPr lvl="0"/>
            <a:r>
              <a:rPr lang="ko-KR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063353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53"/>
            <a:ext cx="2228850" cy="5851525"/>
          </a:xfrm>
          <a:prstGeom prst="rect">
            <a:avLst/>
          </a:prstGeom>
        </p:spPr>
        <p:txBody>
          <a:bodyPr vert="eaVert"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53"/>
            <a:ext cx="6521450" cy="5851525"/>
          </a:xfrm>
          <a:prstGeom prst="rect">
            <a:avLst/>
          </a:prstGeom>
        </p:spPr>
        <p:txBody>
          <a:bodyPr vert="eaVert" lIns="91389" tIns="45694" rIns="91389" bIns="45694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58307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9345488" y="6381328"/>
            <a:ext cx="56051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63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069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0725" y="3044283"/>
            <a:ext cx="4115943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altLang="ko-KR"/>
              <a:t>Click to edit Master title style</a:t>
            </a:r>
            <a:endParaRPr lang="ko-K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9191427" y="6545827"/>
            <a:ext cx="264470" cy="914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03207" latinLnBrk="0">
              <a:defRPr/>
            </a:pPr>
            <a:fld id="{4ABDCABE-3F10-B64C-92F1-862014417034}" type="slidenum">
              <a:rPr lang="en-US" altLang="ko-KR" sz="594">
                <a:solidFill>
                  <a:srgbClr val="000000"/>
                </a:solidFill>
                <a:cs typeface="Arial" panose="020B0604020202020204" pitchFamily="34" charset="0"/>
              </a:rPr>
              <a:pPr algn="r" defTabSz="403207" latinLnBrk="0">
                <a:defRPr/>
              </a:pPr>
              <a:t>‹#›</a:t>
            </a:fld>
            <a:endParaRPr lang="ko-KR" altLang="en-US" sz="594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50723" y="6501678"/>
            <a:ext cx="5913262" cy="812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ko-K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atinLnBrk="0"/>
            <a:r>
              <a:rPr altLang="en-US" sz="528">
                <a:solidFill>
                  <a:srgbClr val="000000"/>
                </a:solidFill>
              </a:rPr>
              <a:t>자료</a:t>
            </a:r>
            <a:r>
              <a:rPr lang="en-US" altLang="ko-KR" sz="528">
                <a:solidFill>
                  <a:srgbClr val="000000"/>
                </a:solidFill>
              </a:rPr>
              <a:t>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5D9E4AB5-0E2B-409B-8FCC-CAB012B1AA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5817299" y="99712"/>
            <a:ext cx="3640455" cy="81241"/>
          </a:xfrm>
        </p:spPr>
        <p:txBody>
          <a:bodyPr anchor="ctr" anchorCtr="0">
            <a:spAutoFit/>
          </a:bodyPr>
          <a:lstStyle>
            <a:lvl1pPr algn="r">
              <a:defRPr sz="528">
                <a:latin typeface="+mn-lt"/>
              </a:defRPr>
            </a:lvl1pPr>
          </a:lstStyle>
          <a:p>
            <a:pPr lvl="0"/>
            <a:r>
              <a:rPr lang="ko-KR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69827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FA0375-D84E-4F98-814F-2E80970618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1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EC24333-0504-41AA-98B2-378A074C99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8984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ts val="198"/>
              </a:spcBef>
              <a:spcAft>
                <a:spcPts val="198"/>
              </a:spcAft>
            </a:pPr>
            <a:endParaRPr lang="ko-KR" altLang="en-US" sz="2905" b="1" dirty="0" err="1">
              <a:solidFill>
                <a:srgbClr val="FFFFFF"/>
              </a:solidFill>
              <a:latin typeface="Georgia" panose="02040502050405020303" pitchFamily="18" charset="0"/>
              <a:ea typeface="-윤명조150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50723" y="4580468"/>
            <a:ext cx="9004554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2905"/>
            </a:lvl1pPr>
          </a:lstStyle>
          <a:p>
            <a:r>
              <a:rPr lang="en-US" altLang="ko-KR"/>
              <a:t>Click to edit Master title style</a:t>
            </a:r>
            <a:endParaRPr lang="ko-K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9191427" y="6545827"/>
            <a:ext cx="264470" cy="914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03207" latinLnBrk="0">
              <a:defRPr/>
            </a:pPr>
            <a:fld id="{4ABDCABE-3F10-B64C-92F1-862014417034}" type="slidenum">
              <a:rPr lang="en-US" altLang="ko-KR" sz="594">
                <a:solidFill>
                  <a:srgbClr val="000000"/>
                </a:solidFill>
                <a:cs typeface="Arial" panose="020B0604020202020204" pitchFamily="34" charset="0"/>
              </a:rPr>
              <a:pPr algn="r" defTabSz="403207" latinLnBrk="0">
                <a:defRPr/>
              </a:pPr>
              <a:t>‹#›</a:t>
            </a:fld>
            <a:endParaRPr lang="ko-KR" altLang="en-US" sz="594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50723" y="6501678"/>
            <a:ext cx="5913262" cy="812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ko-K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atinLnBrk="0"/>
            <a:r>
              <a:rPr altLang="en-US" sz="528">
                <a:solidFill>
                  <a:srgbClr val="000000"/>
                </a:solidFill>
              </a:rPr>
              <a:t>자료</a:t>
            </a:r>
            <a:r>
              <a:rPr lang="en-US" altLang="ko-KR" sz="528">
                <a:solidFill>
                  <a:srgbClr val="000000"/>
                </a:solidFill>
              </a:rPr>
              <a:t>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BDCF0DB-75C4-4002-BCC8-47678D66A9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817299" y="99712"/>
            <a:ext cx="3640455" cy="81241"/>
          </a:xfrm>
        </p:spPr>
        <p:txBody>
          <a:bodyPr anchor="ctr" anchorCtr="0">
            <a:spAutoFit/>
          </a:bodyPr>
          <a:lstStyle>
            <a:lvl1pPr algn="r">
              <a:defRPr sz="528">
                <a:latin typeface="+mn-lt"/>
              </a:defRPr>
            </a:lvl1pPr>
          </a:lstStyle>
          <a:p>
            <a:pPr lvl="0"/>
            <a:r>
              <a:rPr lang="ko-KR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433932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3E892C-6763-407B-82D7-D647149C4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5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6C9B1A6-9C70-43C3-A5FE-4FAF8D797B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8984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ts val="198"/>
              </a:spcBef>
              <a:spcAft>
                <a:spcPts val="198"/>
              </a:spcAft>
            </a:pPr>
            <a:endParaRPr lang="ko-KR" altLang="en-US" sz="2245" b="1" dirty="0" err="1">
              <a:solidFill>
                <a:srgbClr val="FFFFFF"/>
              </a:solidFill>
              <a:latin typeface="Georgia" panose="02040502050405020303" pitchFamily="18" charset="0"/>
              <a:ea typeface="-윤명조150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223391" y="3758143"/>
            <a:ext cx="7459218" cy="32130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2245"/>
            </a:lvl1pPr>
          </a:lstStyle>
          <a:p>
            <a:r>
              <a:rPr lang="ko-KR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223391" y="4284639"/>
            <a:ext cx="745921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056" b="0">
                <a:solidFill>
                  <a:schemeClr val="tx1"/>
                </a:solidFill>
              </a:defRPr>
            </a:lvl1pPr>
            <a:lvl2pPr marL="301839" indent="0" algn="ctr">
              <a:buNone/>
              <a:defRPr sz="1320"/>
            </a:lvl2pPr>
            <a:lvl3pPr marL="603677" indent="0" algn="ctr">
              <a:buNone/>
              <a:defRPr sz="1189"/>
            </a:lvl3pPr>
            <a:lvl4pPr marL="905515" indent="0" algn="ctr">
              <a:buNone/>
              <a:defRPr sz="1056"/>
            </a:lvl4pPr>
            <a:lvl5pPr marL="1207354" indent="0" algn="ctr">
              <a:buNone/>
              <a:defRPr sz="1056"/>
            </a:lvl5pPr>
            <a:lvl6pPr marL="1509193" indent="0" algn="ctr">
              <a:buNone/>
              <a:defRPr sz="1056"/>
            </a:lvl6pPr>
            <a:lvl7pPr marL="1811032" indent="0" algn="ctr">
              <a:buNone/>
              <a:defRPr sz="1056"/>
            </a:lvl7pPr>
            <a:lvl8pPr marL="2112870" indent="0" algn="ctr">
              <a:buNone/>
              <a:defRPr sz="1056"/>
            </a:lvl8pPr>
            <a:lvl9pPr marL="2414709" indent="0" algn="ctr">
              <a:buNone/>
              <a:defRPr sz="1056"/>
            </a:lvl9pPr>
          </a:lstStyle>
          <a:p>
            <a:r>
              <a:rPr lang="ko-KR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9191427" y="6545827"/>
            <a:ext cx="264470" cy="914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03207" latinLnBrk="0">
              <a:defRPr/>
            </a:pPr>
            <a:fld id="{4ABDCABE-3F10-B64C-92F1-862014417034}" type="slidenum">
              <a:rPr lang="en-US" altLang="ko-KR" sz="594">
                <a:solidFill>
                  <a:srgbClr val="000000"/>
                </a:solidFill>
                <a:cs typeface="Arial" panose="020B0604020202020204" pitchFamily="34" charset="0"/>
              </a:rPr>
              <a:pPr algn="r" defTabSz="403207" latinLnBrk="0">
                <a:defRPr/>
              </a:pPr>
              <a:t>‹#›</a:t>
            </a:fld>
            <a:endParaRPr lang="ko-KR" altLang="en-US" sz="594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50723" y="6501678"/>
            <a:ext cx="5913262" cy="812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ko-KR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atinLnBrk="0"/>
            <a:r>
              <a:rPr altLang="en-US" sz="528">
                <a:solidFill>
                  <a:srgbClr val="000000"/>
                </a:solidFill>
              </a:rPr>
              <a:t>자료</a:t>
            </a:r>
            <a:r>
              <a:rPr lang="en-US" altLang="ko-KR" sz="528">
                <a:solidFill>
                  <a:srgbClr val="000000"/>
                </a:solidFill>
              </a:rPr>
              <a:t>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950F413-0AED-4FE7-B055-F5A279CFBFA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5817299" y="99712"/>
            <a:ext cx="3640455" cy="81241"/>
          </a:xfrm>
        </p:spPr>
        <p:txBody>
          <a:bodyPr anchor="ctr" anchorCtr="0">
            <a:spAutoFit/>
          </a:bodyPr>
          <a:lstStyle>
            <a:lvl1pPr algn="r">
              <a:defRPr sz="528">
                <a:latin typeface="+mn-lt"/>
              </a:defRPr>
            </a:lvl1pPr>
          </a:lstStyle>
          <a:p>
            <a:pPr lvl="0"/>
            <a:r>
              <a:rPr lang="ko-KR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18049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D135FE-7954-4CB6-B992-9ECED164E3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19" y="1630"/>
          <a:ext cx="1315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9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19" y="1630"/>
                        <a:ext cx="1315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7F17A4-96AF-47AD-A46C-1216C61E1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latinLnBrk="0"/>
            <a:endParaRPr lang="en-US" sz="1650" b="1" dirty="0" err="1">
              <a:solidFill>
                <a:srgbClr val="000000"/>
              </a:solidFill>
              <a:latin typeface="Georgia" panose="02040502050405020303" pitchFamily="18" charset="0"/>
              <a:ea typeface="-윤명조150" panose="02030504000101010101" pitchFamily="18" charset="-127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885" y="175719"/>
            <a:ext cx="9187588" cy="23615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ko-KR" dirty="0">
                <a:solidFill>
                  <a:schemeClr val="bg2"/>
                </a:solidFill>
              </a:defRPr>
            </a:lvl1pPr>
          </a:lstStyle>
          <a:p>
            <a:pPr lvl="0" defTabSz="603100" latinLnBrk="0">
              <a:tabLst>
                <a:tab pos="181786" algn="l"/>
              </a:tabLst>
            </a:pPr>
            <a:r>
              <a:rPr lang="en-US" altLang="ko-KR"/>
              <a:t>Click to edit Master title style</a:t>
            </a:r>
            <a:endParaRPr lang="ko-KR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9467294" y="6640467"/>
            <a:ext cx="103656" cy="12561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atinLnBrk="0"/>
            <a:fld id="{42C328C1-A84F-4A39-A664-DBA00541A8C6}" type="slidenum">
              <a:rPr lang="en-US" sz="674" smtClean="0">
                <a:solidFill>
                  <a:srgbClr val="7F7F7F"/>
                </a:solidFill>
              </a:rPr>
              <a:pPr latinLnBrk="0"/>
              <a:t>‹#›</a:t>
            </a:fld>
            <a:endParaRPr lang="en-US" sz="674" dirty="0">
              <a:solidFill>
                <a:srgbClr val="7F7F7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671555" y="6661789"/>
            <a:ext cx="684483" cy="829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04174" latinLnBrk="0"/>
            <a:r>
              <a:rPr lang="en-US" altLang="ko-KR" sz="539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8659631" y="51835"/>
            <a:ext cx="1000645" cy="94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/>
          <a:lstStyle/>
          <a:p>
            <a:pPr algn="r" defTabSz="804174" latinLnBrk="0"/>
            <a:endParaRPr lang="ko-KR" altLang="en-US" sz="404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8033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4069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78" userDrawn="1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550"/>
            <a:ext cx="8420100" cy="1470025"/>
          </a:xfrm>
          <a:prstGeom prst="rect">
            <a:avLst/>
          </a:prstGeom>
        </p:spPr>
        <p:txBody>
          <a:bodyPr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 lIns="91389" tIns="45694" rIns="91389" bIns="45694"/>
          <a:lstStyle>
            <a:lvl1pPr marL="0" indent="0" algn="ctr">
              <a:buNone/>
              <a:defRPr/>
            </a:lvl1pPr>
            <a:lvl2pPr marL="301672" indent="0" algn="ctr">
              <a:buNone/>
              <a:defRPr/>
            </a:lvl2pPr>
            <a:lvl3pPr marL="603345" indent="0" algn="ctr">
              <a:buNone/>
              <a:defRPr/>
            </a:lvl3pPr>
            <a:lvl4pPr marL="905015" indent="0" algn="ctr">
              <a:buNone/>
              <a:defRPr/>
            </a:lvl4pPr>
            <a:lvl5pPr marL="1206688" indent="0" algn="ctr">
              <a:buNone/>
              <a:defRPr/>
            </a:lvl5pPr>
            <a:lvl6pPr marL="1508360" indent="0" algn="ctr">
              <a:buNone/>
              <a:defRPr/>
            </a:lvl6pPr>
            <a:lvl7pPr marL="1810029" indent="0" algn="ctr">
              <a:buNone/>
              <a:defRPr/>
            </a:lvl7pPr>
            <a:lvl8pPr marL="2111703" indent="0" algn="ctr">
              <a:buNone/>
              <a:defRPr/>
            </a:lvl8pPr>
            <a:lvl9pPr marL="2413375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6886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lIns="91389" tIns="45694" rIns="91389" bIns="45694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lIns="91389" tIns="45694" rIns="91389" bIns="45694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48550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2" name="think-cell Slide" r:id="rId30" imgW="413" imgH="416" progId="TCLayout.ActiveDocument.1">
                  <p:embed/>
                </p:oleObj>
              </mc:Choice>
              <mc:Fallback>
                <p:oleObj name="think-cell Slide" r:id="rId3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28984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latinLnBrk="0">
              <a:spcBef>
                <a:spcPct val="0"/>
              </a:spcBef>
              <a:spcAft>
                <a:spcPct val="0"/>
              </a:spcAft>
            </a:pPr>
            <a:endParaRPr lang="ko-KR" altLang="en-US" sz="1650" b="1" dirty="0" err="1">
              <a:solidFill>
                <a:srgbClr val="FFFFFF"/>
              </a:solidFill>
              <a:latin typeface="Georgia" panose="02040502050405020303" pitchFamily="18" charset="0"/>
              <a:ea typeface="-윤명조150"/>
              <a:sym typeface="Georgia" panose="02040502050405020303" pitchFamily="18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450723" y="6453769"/>
            <a:ext cx="900455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50102" y="6320907"/>
            <a:ext cx="5913882" cy="812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atinLnBrk="0">
              <a:defRPr/>
            </a:pPr>
            <a:r>
              <a:rPr lang="en-US" altLang="ko-KR" sz="528" dirty="0">
                <a:solidFill>
                  <a:srgbClr val="000000"/>
                </a:solidFill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450723" y="172212"/>
            <a:ext cx="9004554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altLang="ko-KR"/>
              <a:t>Click to edit Master title style</a:t>
            </a:r>
            <a:endParaRPr lang="ko-K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0723" y="2171700"/>
            <a:ext cx="9004554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904762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latinLnBrk="0"/>
              <a:endParaRPr lang="ko-KR" altLang="en-US" sz="1189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latinLnBrk="0"/>
              <a:endParaRPr lang="ko-KR" altLang="en-US" sz="873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8575751" y="4344967"/>
            <a:ext cx="800202" cy="1673015"/>
            <a:chOff x="9585951" y="3001463"/>
            <a:chExt cx="984864" cy="1673015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925" err="1">
                <a:solidFill>
                  <a:srgbClr val="000000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925" err="1">
                <a:solidFill>
                  <a:srgbClr val="000000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925" err="1">
                <a:solidFill>
                  <a:srgbClr val="000000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925" err="1">
                <a:solidFill>
                  <a:srgbClr val="000000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latinLnBrk="0"/>
              <a:endParaRPr lang="ko-KR" altLang="en-US" sz="925" err="1">
                <a:solidFill>
                  <a:srgbClr val="000000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3016653"/>
              <a:ext cx="658718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96151"/>
              <a:ext cx="658718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75649"/>
              <a:ext cx="658718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47070"/>
              <a:ext cx="658718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518491"/>
              <a:ext cx="653111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8576104" y="3280155"/>
            <a:ext cx="1031335" cy="885189"/>
            <a:chOff x="4372690" y="3775649"/>
            <a:chExt cx="1269335" cy="885189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75649"/>
              <a:ext cx="653111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47070"/>
              <a:ext cx="653111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518491"/>
              <a:ext cx="653111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latinLnBrk="0"/>
              <a:endParaRPr lang="ko-KR" altLang="en-US" sz="1189" dirty="0">
                <a:solidFill>
                  <a:srgbClr val="000000"/>
                </a:solidFill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latinLnBrk="0"/>
              <a:endParaRPr lang="ko-KR" altLang="en-US" sz="1189" dirty="0">
                <a:solidFill>
                  <a:srgbClr val="000000"/>
                </a:solidFill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latinLnBrk="0"/>
              <a:endParaRPr lang="ko-KR" altLang="en-US" sz="1189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8576103" y="1339209"/>
            <a:ext cx="831690" cy="1731859"/>
            <a:chOff x="7723680" y="1702457"/>
            <a:chExt cx="1023618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46364"/>
              <a:ext cx="670986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121823"/>
              <a:ext cx="670984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97282"/>
              <a:ext cx="670984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72741"/>
              <a:ext cx="670984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48202"/>
              <a:ext cx="670984" cy="14234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atinLnBrk="0">
                <a:spcAft>
                  <a:spcPts val="397"/>
                </a:spcAft>
              </a:pPr>
              <a:r>
                <a:rPr lang="en-US" altLang="ko-KR" sz="925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1189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1189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1189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1189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1189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1189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1189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1189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1189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latinLnBrk="0"/>
                <a:endParaRPr lang="ko-KR" altLang="en-US" sz="1189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FD186F18-55A4-4C07-9BF5-E04E0294E0A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53541" y="1286978"/>
            <a:ext cx="281295" cy="109902"/>
            <a:chOff x="8456447" y="272180"/>
            <a:chExt cx="259643" cy="109880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F2858F3F-9D33-4229-8290-EAA49213273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259643" cy="1098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defTabSz="788173" latinLnBrk="0">
                <a:buClr>
                  <a:srgbClr val="000000"/>
                </a:buClr>
              </a:pPr>
              <a:r>
                <a:rPr lang="en-US" altLang="ko-KR" sz="594" b="1" spc="33" dirty="0">
                  <a:ln w="3175">
                    <a:noFill/>
                  </a:ln>
                  <a:solidFill>
                    <a:srgbClr val="000000"/>
                  </a:solidFill>
                </a:rPr>
                <a:t>Sticker</a:t>
              </a:r>
              <a:endParaRPr lang="ko-KR" altLang="en-US" sz="528" dirty="0">
                <a:solidFill>
                  <a:srgbClr val="000000"/>
                </a:solidFill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01185558-CDA3-4A96-95B5-70AC8329EE0F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382060"/>
              <a:ext cx="259643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87778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</p:sldLayoutIdLst>
  <p:timing>
    <p:tnLst>
      <p:par>
        <p:cTn id="1" dur="indefinite" restart="never" nodeType="tmRoot"/>
      </p:par>
    </p:tnLst>
  </p:timing>
  <p:txStyles>
    <p:titleStyle>
      <a:lvl1pPr algn="l" defTabSz="603677" rtl="0" eaLnBrk="1" latinLnBrk="1" hangingPunct="1">
        <a:lnSpc>
          <a:spcPct val="93000"/>
        </a:lnSpc>
        <a:spcBef>
          <a:spcPct val="0"/>
        </a:spcBef>
        <a:buNone/>
        <a:defRPr sz="165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03677" rtl="0" eaLnBrk="1" latinLnBrk="1" hangingPunct="1">
        <a:lnSpc>
          <a:spcPct val="100000"/>
        </a:lnSpc>
        <a:spcBef>
          <a:spcPts val="198"/>
        </a:spcBef>
        <a:spcAft>
          <a:spcPts val="198"/>
        </a:spcAft>
        <a:buFont typeface="Segoe UI" panose="020B0502040204020203" pitchFamily="34" charset="0"/>
        <a:buChar char="​"/>
        <a:defRPr sz="1056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50919" indent="-148824" algn="l" defTabSz="603677" rtl="0" eaLnBrk="1" latinLnBrk="1" hangingPunct="1">
        <a:lnSpc>
          <a:spcPct val="100000"/>
        </a:lnSpc>
        <a:spcBef>
          <a:spcPts val="0"/>
        </a:spcBef>
        <a:spcAft>
          <a:spcPts val="198"/>
        </a:spcAft>
        <a:buFont typeface="Wingdings" panose="05000000000000000000" pitchFamily="2" charset="2"/>
        <a:buChar char=""/>
        <a:defRPr sz="1056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40616" indent="-189698" algn="l" defTabSz="603677" rtl="0" eaLnBrk="1" latinLnBrk="1" hangingPunct="1">
        <a:lnSpc>
          <a:spcPct val="100000"/>
        </a:lnSpc>
        <a:spcBef>
          <a:spcPts val="0"/>
        </a:spcBef>
        <a:spcAft>
          <a:spcPts val="198"/>
        </a:spcAft>
        <a:buFont typeface="Arial" panose="020B0604020202020204" pitchFamily="34" charset="0"/>
        <a:buChar char="—"/>
        <a:defRPr sz="1056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90488" indent="-120526" algn="l" defTabSz="603677" rtl="0" eaLnBrk="1" latinLnBrk="1" hangingPunct="1">
        <a:lnSpc>
          <a:spcPct val="100000"/>
        </a:lnSpc>
        <a:spcBef>
          <a:spcPts val="0"/>
        </a:spcBef>
        <a:spcAft>
          <a:spcPts val="198"/>
        </a:spcAft>
        <a:buFont typeface="Arial" panose="020B0604020202020204" pitchFamily="34" charset="0"/>
        <a:buChar char="»"/>
        <a:defRPr sz="1056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03677" indent="-90133" algn="l" defTabSz="603677" rtl="0" eaLnBrk="1" latinLnBrk="1" hangingPunct="1">
        <a:lnSpc>
          <a:spcPct val="100000"/>
        </a:lnSpc>
        <a:spcBef>
          <a:spcPts val="0"/>
        </a:spcBef>
        <a:spcAft>
          <a:spcPts val="198"/>
        </a:spcAft>
        <a:buSzPct val="100000"/>
        <a:buFont typeface="Arial" panose="020B0604020202020204" pitchFamily="34" charset="0"/>
        <a:buChar char="›"/>
        <a:defRPr sz="1056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716867" indent="-113190" algn="l" defTabSz="603677" rtl="0" eaLnBrk="1" latinLnBrk="1" hangingPunct="1">
        <a:lnSpc>
          <a:spcPct val="100000"/>
        </a:lnSpc>
        <a:spcBef>
          <a:spcPts val="0"/>
        </a:spcBef>
        <a:spcAft>
          <a:spcPts val="198"/>
        </a:spcAft>
        <a:buSzPct val="100000"/>
        <a:buFont typeface="Arial" panose="020B0604020202020204" pitchFamily="34" charset="0"/>
        <a:buChar char="▫"/>
        <a:defRPr sz="1056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716867" indent="-113190" algn="l" defTabSz="603677" rtl="0" eaLnBrk="1" latinLnBrk="1" hangingPunct="1">
        <a:lnSpc>
          <a:spcPct val="100000"/>
        </a:lnSpc>
        <a:spcBef>
          <a:spcPts val="0"/>
        </a:spcBef>
        <a:spcAft>
          <a:spcPts val="198"/>
        </a:spcAft>
        <a:buSzPct val="100000"/>
        <a:buFont typeface="Arial" panose="020B0604020202020204" pitchFamily="34" charset="0"/>
        <a:buChar char="▫"/>
        <a:defRPr sz="1056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716867" indent="-113190" algn="l" defTabSz="603677" rtl="0" eaLnBrk="1" latinLnBrk="1" hangingPunct="1">
        <a:lnSpc>
          <a:spcPct val="100000"/>
        </a:lnSpc>
        <a:spcBef>
          <a:spcPts val="0"/>
        </a:spcBef>
        <a:spcAft>
          <a:spcPts val="198"/>
        </a:spcAft>
        <a:buSzPct val="100000"/>
        <a:buFont typeface="Arial" panose="020B0604020202020204" pitchFamily="34" charset="0"/>
        <a:buChar char="▫"/>
        <a:defRPr sz="1056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716867" indent="-113190" algn="l" defTabSz="603677" rtl="0" eaLnBrk="1" latinLnBrk="1" hangingPunct="1">
        <a:lnSpc>
          <a:spcPct val="100000"/>
        </a:lnSpc>
        <a:spcBef>
          <a:spcPts val="0"/>
        </a:spcBef>
        <a:spcAft>
          <a:spcPts val="198"/>
        </a:spcAft>
        <a:buSzPct val="100000"/>
        <a:buFont typeface="Arial" panose="020B0604020202020204" pitchFamily="34" charset="0"/>
        <a:buChar char="▫"/>
        <a:defRPr sz="1056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ko-KR"/>
      </a:defPPr>
      <a:lvl1pPr marL="0" algn="l" defTabSz="603677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1pPr>
      <a:lvl2pPr marL="301839" algn="l" defTabSz="603677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2pPr>
      <a:lvl3pPr marL="603677" algn="l" defTabSz="603677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3pPr>
      <a:lvl4pPr marL="905515" algn="l" defTabSz="603677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4pPr>
      <a:lvl5pPr marL="1207354" algn="l" defTabSz="603677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5pPr>
      <a:lvl6pPr marL="1509193" algn="l" defTabSz="603677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6pPr>
      <a:lvl7pPr marL="1811032" algn="l" defTabSz="603677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7pPr>
      <a:lvl8pPr marL="2112870" algn="l" defTabSz="603677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8pPr>
      <a:lvl9pPr marL="2414709" algn="l" defTabSz="603677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2" orient="horz" pos="3912" userDrawn="1">
          <p15:clr>
            <a:srgbClr val="5ACBF0"/>
          </p15:clr>
        </p15:guide>
        <p15:guide id="3" orient="horz" pos="1075" userDrawn="1">
          <p15:clr>
            <a:srgbClr val="F26B43"/>
          </p15:clr>
        </p15:guide>
        <p15:guide id="4" pos="5955" userDrawn="1">
          <p15:clr>
            <a:srgbClr val="F26B43"/>
          </p15:clr>
        </p15:guide>
        <p15:guide id="5" pos="280" userDrawn="1">
          <p15:clr>
            <a:srgbClr val="F26B43"/>
          </p15:clr>
        </p15:guide>
        <p15:guide id="6" orient="horz" pos="40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3"/>
          <p:cNvSpPr>
            <a:spLocks noChangeArrowheads="1"/>
          </p:cNvSpPr>
          <p:nvPr/>
        </p:nvSpPr>
        <p:spPr bwMode="auto">
          <a:xfrm>
            <a:off x="9512821" y="6502489"/>
            <a:ext cx="255738" cy="183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0751" tIns="30375" rIns="60751" bIns="30375">
            <a:sp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F5588204-85A5-4D9A-8251-A67EA1221D44}" type="slidenum">
              <a:rPr lang="ko-KR" altLang="ko-KR" sz="792" b="1">
                <a:solidFill>
                  <a:srgbClr val="10253F"/>
                </a:solidFill>
                <a:latin typeface="맑은 고딕" pitchFamily="50" charset="-127"/>
                <a:ea typeface="맑은 고딕" pitchFamily="50" charset="-127"/>
              </a:rPr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ko-KR" altLang="ko-KR" sz="792" dirty="0">
              <a:solidFill>
                <a:srgbClr val="10253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Line 7"/>
          <p:cNvSpPr>
            <a:spLocks noChangeShapeType="1"/>
          </p:cNvSpPr>
          <p:nvPr/>
        </p:nvSpPr>
        <p:spPr bwMode="auto">
          <a:xfrm>
            <a:off x="8" y="512763"/>
            <a:ext cx="9900001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ko-KR" altLang="en-US" sz="1189">
              <a:solidFill>
                <a:srgbClr val="000000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9" name="Picture 4" descr="hanwha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64600" y="95250"/>
            <a:ext cx="11684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20632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2905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2905">
          <a:solidFill>
            <a:schemeClr val="tx1"/>
          </a:solidFill>
          <a:latin typeface="굴림" charset="-127"/>
          <a:ea typeface="굴림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2905">
          <a:solidFill>
            <a:schemeClr val="tx1"/>
          </a:solidFill>
          <a:latin typeface="굴림" charset="-127"/>
          <a:ea typeface="굴림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2905">
          <a:solidFill>
            <a:schemeClr val="tx1"/>
          </a:solidFill>
          <a:latin typeface="굴림" charset="-127"/>
          <a:ea typeface="굴림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2905">
          <a:solidFill>
            <a:schemeClr val="tx1"/>
          </a:solidFill>
          <a:latin typeface="굴림" charset="-127"/>
          <a:ea typeface="굴림" charset="-127"/>
        </a:defRPr>
      </a:lvl5pPr>
      <a:lvl6pPr marL="301672" algn="ctr" rtl="0" fontAlgn="base" latinLnBrk="1">
        <a:spcBef>
          <a:spcPct val="0"/>
        </a:spcBef>
        <a:spcAft>
          <a:spcPct val="0"/>
        </a:spcAft>
        <a:defRPr kumimoji="1" sz="2905">
          <a:solidFill>
            <a:schemeClr val="tx1"/>
          </a:solidFill>
          <a:latin typeface="굴림" charset="-127"/>
          <a:ea typeface="굴림" charset="-127"/>
        </a:defRPr>
      </a:lvl6pPr>
      <a:lvl7pPr marL="603345" algn="ctr" rtl="0" fontAlgn="base" latinLnBrk="1">
        <a:spcBef>
          <a:spcPct val="0"/>
        </a:spcBef>
        <a:spcAft>
          <a:spcPct val="0"/>
        </a:spcAft>
        <a:defRPr kumimoji="1" sz="2905">
          <a:solidFill>
            <a:schemeClr val="tx1"/>
          </a:solidFill>
          <a:latin typeface="굴림" charset="-127"/>
          <a:ea typeface="굴림" charset="-127"/>
        </a:defRPr>
      </a:lvl7pPr>
      <a:lvl8pPr marL="905015" algn="ctr" rtl="0" fontAlgn="base" latinLnBrk="1">
        <a:spcBef>
          <a:spcPct val="0"/>
        </a:spcBef>
        <a:spcAft>
          <a:spcPct val="0"/>
        </a:spcAft>
        <a:defRPr kumimoji="1" sz="2905">
          <a:solidFill>
            <a:schemeClr val="tx1"/>
          </a:solidFill>
          <a:latin typeface="굴림" charset="-127"/>
          <a:ea typeface="굴림" charset="-127"/>
        </a:defRPr>
      </a:lvl8pPr>
      <a:lvl9pPr marL="1206688" algn="ctr" rtl="0" fontAlgn="base" latinLnBrk="1">
        <a:spcBef>
          <a:spcPct val="0"/>
        </a:spcBef>
        <a:spcAft>
          <a:spcPct val="0"/>
        </a:spcAft>
        <a:defRPr kumimoji="1" sz="2905">
          <a:solidFill>
            <a:schemeClr val="tx1"/>
          </a:solidFill>
          <a:latin typeface="굴림" charset="-127"/>
          <a:ea typeface="굴림" charset="-127"/>
        </a:defRPr>
      </a:lvl9pPr>
    </p:titleStyle>
    <p:bodyStyle>
      <a:lvl1pPr marL="225331" indent="-22533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113">
          <a:solidFill>
            <a:schemeClr val="tx1"/>
          </a:solidFill>
          <a:latin typeface="+mn-lt"/>
          <a:ea typeface="+mn-ea"/>
          <a:cs typeface="+mn-cs"/>
        </a:defRPr>
      </a:lvl1pPr>
      <a:lvl2pPr marL="489439" indent="-18760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848">
          <a:solidFill>
            <a:schemeClr val="tx1"/>
          </a:solidFill>
          <a:latin typeface="+mn-lt"/>
          <a:ea typeface="+mn-ea"/>
        </a:defRPr>
      </a:lvl2pPr>
      <a:lvl3pPr marL="753549" indent="-149872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84">
          <a:solidFill>
            <a:schemeClr val="tx1"/>
          </a:solidFill>
          <a:latin typeface="+mn-lt"/>
          <a:ea typeface="+mn-ea"/>
        </a:defRPr>
      </a:lvl3pPr>
      <a:lvl4pPr marL="1055386" indent="-149872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320">
          <a:solidFill>
            <a:schemeClr val="tx1"/>
          </a:solidFill>
          <a:latin typeface="+mn-lt"/>
          <a:ea typeface="+mn-ea"/>
        </a:defRPr>
      </a:lvl4pPr>
      <a:lvl5pPr marL="1357226" indent="-149872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320">
          <a:solidFill>
            <a:schemeClr val="tx1"/>
          </a:solidFill>
          <a:latin typeface="+mn-lt"/>
          <a:ea typeface="+mn-ea"/>
        </a:defRPr>
      </a:lvl5pPr>
      <a:lvl6pPr marL="1659197" indent="-150836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1320">
          <a:solidFill>
            <a:schemeClr val="tx1"/>
          </a:solidFill>
          <a:latin typeface="+mn-lt"/>
          <a:ea typeface="+mn-ea"/>
        </a:defRPr>
      </a:lvl6pPr>
      <a:lvl7pPr marL="1960869" indent="-150836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1320">
          <a:solidFill>
            <a:schemeClr val="tx1"/>
          </a:solidFill>
          <a:latin typeface="+mn-lt"/>
          <a:ea typeface="+mn-ea"/>
        </a:defRPr>
      </a:lvl7pPr>
      <a:lvl8pPr marL="2262540" indent="-150836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1320">
          <a:solidFill>
            <a:schemeClr val="tx1"/>
          </a:solidFill>
          <a:latin typeface="+mn-lt"/>
          <a:ea typeface="+mn-ea"/>
        </a:defRPr>
      </a:lvl8pPr>
      <a:lvl9pPr marL="2564212" indent="-150836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132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603345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1pPr>
      <a:lvl2pPr marL="301672" algn="l" defTabSz="603345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2pPr>
      <a:lvl3pPr marL="603345" algn="l" defTabSz="603345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3pPr>
      <a:lvl4pPr marL="905015" algn="l" defTabSz="603345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4pPr>
      <a:lvl5pPr marL="1206688" algn="l" defTabSz="603345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5pPr>
      <a:lvl6pPr marL="1508360" algn="l" defTabSz="603345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6pPr>
      <a:lvl7pPr marL="1810029" algn="l" defTabSz="603345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7pPr>
      <a:lvl8pPr marL="2111703" algn="l" defTabSz="603345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8pPr>
      <a:lvl9pPr marL="2413375" algn="l" defTabSz="603345" rtl="0" eaLnBrk="1" latinLnBrk="1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3"/>
          <p:cNvSpPr>
            <a:spLocks noChangeArrowheads="1"/>
          </p:cNvSpPr>
          <p:nvPr/>
        </p:nvSpPr>
        <p:spPr bwMode="auto">
          <a:xfrm>
            <a:off x="9484238" y="6502485"/>
            <a:ext cx="312904" cy="225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4770" tIns="37385" rIns="74770" bIns="37385">
            <a:spAutoFit/>
          </a:bodyPr>
          <a:lstStyle/>
          <a:p>
            <a:pPr algn="ctr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fld id="{F5588204-85A5-4D9A-8251-A67EA1221D44}" type="slidenum">
              <a:rPr lang="ko-KR" altLang="ko-KR" sz="975" b="1">
                <a:solidFill>
                  <a:srgbClr val="10253F"/>
                </a:solidFill>
                <a:latin typeface="맑은 고딕" pitchFamily="50" charset="-127"/>
                <a:ea typeface="맑은 고딕" pitchFamily="50" charset="-127"/>
              </a:rPr>
              <a:pPr algn="ctr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ko-KR" altLang="ko-KR" sz="975" dirty="0">
              <a:solidFill>
                <a:srgbClr val="10253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" name="Line 7"/>
          <p:cNvSpPr>
            <a:spLocks noChangeShapeType="1"/>
          </p:cNvSpPr>
          <p:nvPr/>
        </p:nvSpPr>
        <p:spPr bwMode="auto">
          <a:xfrm>
            <a:off x="7" y="512763"/>
            <a:ext cx="9900001" cy="0"/>
          </a:xfrm>
          <a:prstGeom prst="line">
            <a:avLst/>
          </a:prstGeom>
          <a:noFill/>
          <a:ln w="38100">
            <a:solidFill>
              <a:srgbClr val="FF9933"/>
            </a:solidFill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ko-KR" altLang="en-US" sz="1463">
              <a:solidFill>
                <a:srgbClr val="000000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9" name="Picture 4" descr="hanwha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64600" y="95250"/>
            <a:ext cx="11684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19859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1"/>
          </a:solidFill>
          <a:latin typeface="굴림" charset="-127"/>
          <a:ea typeface="굴림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1"/>
          </a:solidFill>
          <a:latin typeface="굴림" charset="-127"/>
          <a:ea typeface="굴림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1"/>
          </a:solidFill>
          <a:latin typeface="굴림" charset="-127"/>
          <a:ea typeface="굴림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3575">
          <a:solidFill>
            <a:schemeClr val="tx1"/>
          </a:solidFill>
          <a:latin typeface="굴림" charset="-127"/>
          <a:ea typeface="굴림" charset="-127"/>
        </a:defRPr>
      </a:lvl5pPr>
      <a:lvl6pPr marL="371288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1"/>
          </a:solidFill>
          <a:latin typeface="굴림" charset="-127"/>
          <a:ea typeface="굴림" charset="-127"/>
        </a:defRPr>
      </a:lvl6pPr>
      <a:lvl7pPr marL="742578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1"/>
          </a:solidFill>
          <a:latin typeface="굴림" charset="-127"/>
          <a:ea typeface="굴림" charset="-127"/>
        </a:defRPr>
      </a:lvl7pPr>
      <a:lvl8pPr marL="1113867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1"/>
          </a:solidFill>
          <a:latin typeface="굴림" charset="-127"/>
          <a:ea typeface="굴림" charset="-127"/>
        </a:defRPr>
      </a:lvl8pPr>
      <a:lvl9pPr marL="1485154" algn="ctr" rtl="0" fontAlgn="base" latinLnBrk="1">
        <a:spcBef>
          <a:spcPct val="0"/>
        </a:spcBef>
        <a:spcAft>
          <a:spcPct val="0"/>
        </a:spcAft>
        <a:defRPr kumimoji="1" sz="3575">
          <a:solidFill>
            <a:schemeClr val="tx1"/>
          </a:solidFill>
          <a:latin typeface="굴림" charset="-127"/>
          <a:ea typeface="굴림" charset="-127"/>
        </a:defRPr>
      </a:lvl9pPr>
    </p:titleStyle>
    <p:bodyStyle>
      <a:lvl1pPr marL="277331" indent="-277331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600">
          <a:solidFill>
            <a:schemeClr val="tx1"/>
          </a:solidFill>
          <a:latin typeface="+mn-lt"/>
          <a:ea typeface="+mn-ea"/>
          <a:cs typeface="+mn-cs"/>
        </a:defRPr>
      </a:lvl1pPr>
      <a:lvl2pPr marL="602387" indent="-230894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2275">
          <a:solidFill>
            <a:schemeClr val="tx1"/>
          </a:solidFill>
          <a:latin typeface="+mn-lt"/>
          <a:ea typeface="+mn-ea"/>
        </a:defRPr>
      </a:lvl2pPr>
      <a:lvl3pPr marL="927444" indent="-184458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950">
          <a:solidFill>
            <a:schemeClr val="tx1"/>
          </a:solidFill>
          <a:latin typeface="+mn-lt"/>
          <a:ea typeface="+mn-ea"/>
        </a:defRPr>
      </a:lvl3pPr>
      <a:lvl4pPr marL="1298939" indent="-184458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625">
          <a:solidFill>
            <a:schemeClr val="tx1"/>
          </a:solidFill>
          <a:latin typeface="+mn-lt"/>
          <a:ea typeface="+mn-ea"/>
        </a:defRPr>
      </a:lvl4pPr>
      <a:lvl5pPr marL="1670432" indent="-184458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625">
          <a:solidFill>
            <a:schemeClr val="tx1"/>
          </a:solidFill>
          <a:latin typeface="+mn-lt"/>
          <a:ea typeface="+mn-ea"/>
        </a:defRPr>
      </a:lvl5pPr>
      <a:lvl6pPr marL="2042088" indent="-185645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1625">
          <a:solidFill>
            <a:schemeClr val="tx1"/>
          </a:solidFill>
          <a:latin typeface="+mn-lt"/>
          <a:ea typeface="+mn-ea"/>
        </a:defRPr>
      </a:lvl6pPr>
      <a:lvl7pPr marL="2413379" indent="-185645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1625">
          <a:solidFill>
            <a:schemeClr val="tx1"/>
          </a:solidFill>
          <a:latin typeface="+mn-lt"/>
          <a:ea typeface="+mn-ea"/>
        </a:defRPr>
      </a:lvl7pPr>
      <a:lvl8pPr marL="2784663" indent="-185645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1625">
          <a:solidFill>
            <a:schemeClr val="tx1"/>
          </a:solidFill>
          <a:latin typeface="+mn-lt"/>
          <a:ea typeface="+mn-ea"/>
        </a:defRPr>
      </a:lvl8pPr>
      <a:lvl9pPr marL="3155954" indent="-185645" algn="l" rtl="0" fontAlgn="base" latinLnBrk="1">
        <a:spcBef>
          <a:spcPct val="20000"/>
        </a:spcBef>
        <a:spcAft>
          <a:spcPct val="0"/>
        </a:spcAft>
        <a:buFont typeface="Arial" charset="0"/>
        <a:buChar char="»"/>
        <a:defRPr kumimoji="1" sz="162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74257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288" algn="l" defTabSz="74257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578" algn="l" defTabSz="74257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3867" algn="l" defTabSz="74257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154" algn="l" defTabSz="74257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6443" algn="l" defTabSz="74257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7729" algn="l" defTabSz="74257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99019" algn="l" defTabSz="74257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0308" algn="l" defTabSz="742578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541533" y="1024467"/>
            <a:ext cx="9095762" cy="488865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1. 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포털에서 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‘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상생누리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’ 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검색 후 사이트 접속 및 회원가입 진행</a:t>
            </a:r>
            <a:endParaRPr lang="en-US" altLang="ko-KR" sz="1200" dirty="0" smtClean="0">
              <a:latin typeface="한화고딕 L" panose="02020503020101020101" pitchFamily="18" charset="-127"/>
              <a:ea typeface="한화고딕 L" panose="02020503020101020101" pitchFamily="18" charset="-127"/>
            </a:endParaRPr>
          </a:p>
        </p:txBody>
      </p:sp>
      <p:sp>
        <p:nvSpPr>
          <p:cNvPr id="11" name="제목 4"/>
          <p:cNvSpPr>
            <a:spLocks noGrp="1"/>
          </p:cNvSpPr>
          <p:nvPr>
            <p:ph type="title"/>
          </p:nvPr>
        </p:nvSpPr>
        <p:spPr>
          <a:xfrm>
            <a:off x="450723" y="182372"/>
            <a:ext cx="9004554" cy="547783"/>
          </a:xfrm>
        </p:spPr>
        <p:txBody>
          <a:bodyPr/>
          <a:lstStyle/>
          <a:p>
            <a:r>
              <a:rPr lang="en-US" altLang="ko-KR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Ⅰ. </a:t>
            </a:r>
            <a:r>
              <a:rPr lang="ko-KR" altLang="en-US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상생누리 접속 경로</a:t>
            </a:r>
            <a:endParaRPr lang="ko-KR" altLang="en-US" sz="2000" dirty="0">
              <a:latin typeface="한화고딕 L" panose="02020503020101020101" pitchFamily="18" charset="-127"/>
              <a:ea typeface="한화고딕 L" panose="02020503020101020101" pitchFamily="18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190" y="1489338"/>
            <a:ext cx="6728321" cy="4201360"/>
          </a:xfrm>
          <a:prstGeom prst="rect">
            <a:avLst/>
          </a:prstGeom>
        </p:spPr>
      </p:pic>
      <p:sp>
        <p:nvSpPr>
          <p:cNvPr id="5" name="직사각형 4"/>
          <p:cNvSpPr/>
          <p:nvPr/>
        </p:nvSpPr>
        <p:spPr>
          <a:xfrm>
            <a:off x="1013255" y="3048664"/>
            <a:ext cx="2224215" cy="720148"/>
          </a:xfrm>
          <a:prstGeom prst="rect">
            <a:avLst/>
          </a:prstGeom>
          <a:noFill/>
          <a:ln w="38100" cap="sq">
            <a:solidFill>
              <a:srgbClr val="FF9933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o-KR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574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541533" y="1024467"/>
            <a:ext cx="9095762" cy="488865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2. 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‘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동반성장 프로그램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’ 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탭에서 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‘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프로그램 검색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’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 클릭</a:t>
            </a:r>
            <a:endParaRPr lang="en-US" altLang="ko-KR" sz="1200" dirty="0" smtClean="0">
              <a:latin typeface="한화고딕 L" panose="02020503020101020101" pitchFamily="18" charset="-127"/>
              <a:ea typeface="한화고딕 L" panose="02020503020101020101" pitchFamily="18" charset="-127"/>
            </a:endParaRPr>
          </a:p>
        </p:txBody>
      </p:sp>
      <p:sp>
        <p:nvSpPr>
          <p:cNvPr id="11" name="제목 4"/>
          <p:cNvSpPr>
            <a:spLocks noGrp="1"/>
          </p:cNvSpPr>
          <p:nvPr>
            <p:ph type="title"/>
          </p:nvPr>
        </p:nvSpPr>
        <p:spPr>
          <a:xfrm>
            <a:off x="450723" y="182372"/>
            <a:ext cx="9004554" cy="547783"/>
          </a:xfrm>
        </p:spPr>
        <p:txBody>
          <a:bodyPr/>
          <a:lstStyle/>
          <a:p>
            <a:r>
              <a:rPr lang="en-US" altLang="ko-KR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Ⅰ. </a:t>
            </a:r>
            <a:r>
              <a:rPr lang="ko-KR" altLang="en-US" dirty="0">
                <a:latin typeface="한화고딕 L" panose="02020503020101020101" pitchFamily="18" charset="-127"/>
                <a:ea typeface="한화고딕 L" panose="02020503020101020101" pitchFamily="18" charset="-127"/>
              </a:rPr>
              <a:t>상생누리 접속 경로</a:t>
            </a:r>
            <a:endParaRPr lang="ko-KR" altLang="en-US" sz="2000" dirty="0">
              <a:latin typeface="한화고딕 L" panose="02020503020101020101" pitchFamily="18" charset="-127"/>
              <a:ea typeface="한화고딕 L" panose="02020503020101020101" pitchFamily="18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7817" y="1357280"/>
            <a:ext cx="8022552" cy="3582292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2574879" y="1671277"/>
            <a:ext cx="1210044" cy="720148"/>
          </a:xfrm>
          <a:prstGeom prst="rect">
            <a:avLst/>
          </a:prstGeom>
          <a:noFill/>
          <a:ln w="38100" cap="sq">
            <a:solidFill>
              <a:srgbClr val="FF9933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o-KR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36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541533" y="1024467"/>
            <a:ext cx="9095762" cy="488865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3. 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기업명 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‘</a:t>
            </a:r>
            <a:r>
              <a:rPr lang="ko-KR" altLang="en-US" sz="1600" b="1" dirty="0" err="1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한화솔루션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’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 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검색 후 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‘</a:t>
            </a:r>
            <a:r>
              <a:rPr lang="ko-KR" altLang="en-US" sz="1600" b="1" dirty="0" err="1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신규거래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 제안 제도 안내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’</a:t>
            </a:r>
            <a:r>
              <a:rPr lang="ko-KR" altLang="en-US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 프로그램에서 신청 버튼 클릭</a:t>
            </a:r>
            <a:endParaRPr lang="en-US" altLang="ko-KR" sz="1600" b="1" dirty="0" smtClean="0">
              <a:latin typeface="한화고딕 L" panose="02020503020101020101" pitchFamily="18" charset="-127"/>
              <a:ea typeface="한화고딕 L" panose="02020503020101020101" pitchFamily="18" charset="-127"/>
            </a:endParaRPr>
          </a:p>
          <a:p>
            <a:pPr>
              <a:spcBef>
                <a:spcPts val="1000"/>
              </a:spcBef>
            </a:pPr>
            <a:r>
              <a:rPr lang="en-US" altLang="ko-KR" sz="1600" b="1" dirty="0">
                <a:latin typeface="한화고딕 L" panose="02020503020101020101" pitchFamily="18" charset="-127"/>
                <a:ea typeface="한화고딕 L" panose="02020503020101020101" pitchFamily="18" charset="-127"/>
              </a:rPr>
              <a:t> </a:t>
            </a:r>
            <a:r>
              <a:rPr lang="en-US" altLang="ko-KR" sz="1600" b="1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   </a:t>
            </a:r>
            <a:r>
              <a:rPr lang="en-US" altLang="ko-KR" sz="1600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 - </a:t>
            </a:r>
            <a:r>
              <a:rPr lang="ko-KR" altLang="en-US" sz="1600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이후 안내에 따라 신청절차 진행</a:t>
            </a:r>
            <a:endParaRPr lang="en-US" altLang="ko-KR" sz="1200" dirty="0" smtClean="0">
              <a:latin typeface="한화고딕 L" panose="02020503020101020101" pitchFamily="18" charset="-127"/>
              <a:ea typeface="한화고딕 L" panose="02020503020101020101" pitchFamily="18" charset="-127"/>
            </a:endParaRPr>
          </a:p>
        </p:txBody>
      </p:sp>
      <p:sp>
        <p:nvSpPr>
          <p:cNvPr id="11" name="제목 4"/>
          <p:cNvSpPr>
            <a:spLocks noGrp="1"/>
          </p:cNvSpPr>
          <p:nvPr>
            <p:ph type="title"/>
          </p:nvPr>
        </p:nvSpPr>
        <p:spPr>
          <a:xfrm>
            <a:off x="450723" y="182372"/>
            <a:ext cx="9004554" cy="547783"/>
          </a:xfrm>
        </p:spPr>
        <p:txBody>
          <a:bodyPr/>
          <a:lstStyle/>
          <a:p>
            <a:r>
              <a:rPr lang="en-US" altLang="ko-KR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Ⅰ. </a:t>
            </a:r>
            <a:r>
              <a:rPr lang="ko-KR" altLang="en-US" dirty="0">
                <a:latin typeface="한화고딕 L" panose="02020503020101020101" pitchFamily="18" charset="-127"/>
                <a:ea typeface="한화고딕 L" panose="02020503020101020101" pitchFamily="18" charset="-127"/>
              </a:rPr>
              <a:t>상생누리 접속 </a:t>
            </a:r>
            <a:r>
              <a:rPr lang="ko-KR" altLang="en-US" dirty="0" smtClean="0">
                <a:latin typeface="한화고딕 L" panose="02020503020101020101" pitchFamily="18" charset="-127"/>
                <a:ea typeface="한화고딕 L" panose="02020503020101020101" pitchFamily="18" charset="-127"/>
              </a:rPr>
              <a:t>경로</a:t>
            </a:r>
            <a:endParaRPr lang="ko-KR" altLang="en-US" sz="2000" dirty="0">
              <a:latin typeface="한화고딕 L" panose="02020503020101020101" pitchFamily="18" charset="-127"/>
              <a:ea typeface="한화고딕 L" panose="02020503020101020101" pitchFamily="18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554" y="1705426"/>
            <a:ext cx="7972303" cy="4502006"/>
          </a:xfrm>
          <a:prstGeom prst="rect">
            <a:avLst/>
          </a:prstGeom>
        </p:spPr>
      </p:pic>
      <p:sp>
        <p:nvSpPr>
          <p:cNvPr id="6" name="직사각형 5"/>
          <p:cNvSpPr/>
          <p:nvPr/>
        </p:nvSpPr>
        <p:spPr>
          <a:xfrm>
            <a:off x="2728786" y="3171463"/>
            <a:ext cx="1449676" cy="428264"/>
          </a:xfrm>
          <a:prstGeom prst="rect">
            <a:avLst/>
          </a:prstGeom>
          <a:noFill/>
          <a:ln w="38100" cap="sq">
            <a:solidFill>
              <a:srgbClr val="FF9933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o-KR" altLang="en-US" sz="1600" dirty="0" err="1">
              <a:solidFill>
                <a:schemeClr val="bg1"/>
              </a:solidFill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8044404" y="5779168"/>
            <a:ext cx="613459" cy="390138"/>
          </a:xfrm>
          <a:prstGeom prst="rect">
            <a:avLst/>
          </a:prstGeom>
          <a:noFill/>
          <a:ln w="38100" cap="sq">
            <a:solidFill>
              <a:srgbClr val="FF9933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ko-KR" alt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34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rz9zda8GX.mJLozzH.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r4tMNF_YKrm2klDtNmB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LT1O8TxUOiwuWKMXiH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Lkvo082BtswQ_ZzOVt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9_White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AD3AC"/>
      </a:accent1>
      <a:accent2>
        <a:srgbClr val="F79646"/>
      </a:accent2>
      <a:accent3>
        <a:srgbClr val="F37321"/>
      </a:accent3>
      <a:accent4>
        <a:srgbClr val="A75884"/>
      </a:accent4>
      <a:accent5>
        <a:srgbClr val="F8B62B"/>
      </a:accent5>
      <a:accent6>
        <a:srgbClr val="7F7F7F"/>
      </a:accent6>
      <a:hlink>
        <a:srgbClr val="68B3A9"/>
      </a:hlink>
      <a:folHlink>
        <a:srgbClr val="333333"/>
      </a:folHlink>
    </a:clrScheme>
    <a:fontScheme name="White Fonts">
      <a:majorFont>
        <a:latin typeface="Georgia"/>
        <a:ea typeface="-윤명조150"/>
        <a:cs typeface=""/>
      </a:majorFont>
      <a:minorFont>
        <a:latin typeface="Arial"/>
        <a:ea typeface="-윤고딕130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Template-Wide.potx" id="{F56FFCE1-449F-4790-9560-D44A10C64F29}" vid="{82FE55C4-C02B-4BAA-8A0A-23089005CEAA}"/>
    </a:ext>
  </a:extLst>
</a:theme>
</file>

<file path=ppt/theme/theme2.xml><?xml version="1.0" encoding="utf-8"?>
<a:theme xmlns:a="http://schemas.openxmlformats.org/drawingml/2006/main" name="3_Office 테마">
  <a:themeElements>
    <a:clrScheme name="Office 테마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테마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테마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Office 테마">
  <a:themeElements>
    <a:clrScheme name="Office 테마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테마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테마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0006</TotalTime>
  <Words>68</Words>
  <Application>Microsoft Office PowerPoint</Application>
  <PresentationFormat>A4 용지(210x297mm)</PresentationFormat>
  <Paragraphs>10</Paragraphs>
  <Slides>3</Slides>
  <Notes>3</Notes>
  <HiddenSlides>0</HiddenSlides>
  <MMClips>0</MMClips>
  <ScaleCrop>false</ScaleCrop>
  <HeadingPairs>
    <vt:vector size="8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</vt:i4>
      </vt:variant>
    </vt:vector>
  </HeadingPairs>
  <TitlesOfParts>
    <vt:vector size="17" baseType="lpstr">
      <vt:lpstr>HY헤드라인M</vt:lpstr>
      <vt:lpstr>굴림</vt:lpstr>
      <vt:lpstr>맑은 고딕</vt:lpstr>
      <vt:lpstr>-윤고딕130</vt:lpstr>
      <vt:lpstr>-윤명조150</vt:lpstr>
      <vt:lpstr>한화고딕 L</vt:lpstr>
      <vt:lpstr>Arial</vt:lpstr>
      <vt:lpstr>Georgia</vt:lpstr>
      <vt:lpstr>Segoe UI</vt:lpstr>
      <vt:lpstr>Wingdings</vt:lpstr>
      <vt:lpstr>9_White</vt:lpstr>
      <vt:lpstr>3_Office 테마</vt:lpstr>
      <vt:lpstr>5_Office 테마</vt:lpstr>
      <vt:lpstr>think-cell Slide</vt:lpstr>
      <vt:lpstr>Ⅰ. 상생누리 접속 경로</vt:lpstr>
      <vt:lpstr>Ⅰ. 상생누리 접속 경로</vt:lpstr>
      <vt:lpstr>Ⅰ. 상생누리 접속 경로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전유환</dc:creator>
  <cp:lastModifiedBy>김대경(KIM DAE KYUNG)</cp:lastModifiedBy>
  <cp:revision>1268</cp:revision>
  <cp:lastPrinted>2022-05-26T08:46:35Z</cp:lastPrinted>
  <dcterms:created xsi:type="dcterms:W3CDTF">2021-05-19T23:55:42Z</dcterms:created>
  <dcterms:modified xsi:type="dcterms:W3CDTF">2023-11-29T08:06:36Z</dcterms:modified>
</cp:coreProperties>
</file>